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49.xml" ContentType="application/vnd.openxmlformats-officedocument.presentationml.notesSlide+xml"/>
  <Override PartName="/ppt/notesSlides/notesSlide11.xml" ContentType="application/vnd.openxmlformats-officedocument.presentationml.notesSlid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49" r:id="rId2"/>
  </p:sldMasterIdLst>
  <p:notesMasterIdLst>
    <p:notesMasterId r:id="rId68"/>
  </p:notesMasterIdLst>
  <p:handoutMasterIdLst>
    <p:handoutMasterId r:id="rId69"/>
  </p:handoutMasterIdLst>
  <p:sldIdLst>
    <p:sldId id="659" r:id="rId3"/>
    <p:sldId id="1069" r:id="rId4"/>
    <p:sldId id="1071" r:id="rId5"/>
    <p:sldId id="1136" r:id="rId6"/>
    <p:sldId id="1137" r:id="rId7"/>
    <p:sldId id="1138" r:id="rId8"/>
    <p:sldId id="1139" r:id="rId9"/>
    <p:sldId id="1073" r:id="rId10"/>
    <p:sldId id="1074" r:id="rId11"/>
    <p:sldId id="1083" r:id="rId12"/>
    <p:sldId id="1084" r:id="rId13"/>
    <p:sldId id="1140" r:id="rId14"/>
    <p:sldId id="1141" r:id="rId15"/>
    <p:sldId id="1142" r:id="rId16"/>
    <p:sldId id="1080" r:id="rId17"/>
    <p:sldId id="1081" r:id="rId18"/>
    <p:sldId id="1082" r:id="rId19"/>
    <p:sldId id="1085" r:id="rId20"/>
    <p:sldId id="1086" r:id="rId21"/>
    <p:sldId id="1087" r:id="rId22"/>
    <p:sldId id="1088" r:id="rId23"/>
    <p:sldId id="1089" r:id="rId24"/>
    <p:sldId id="1090" r:id="rId25"/>
    <p:sldId id="1091" r:id="rId26"/>
    <p:sldId id="1092" r:id="rId27"/>
    <p:sldId id="1093" r:id="rId28"/>
    <p:sldId id="1094" r:id="rId29"/>
    <p:sldId id="1095" r:id="rId30"/>
    <p:sldId id="1096" r:id="rId31"/>
    <p:sldId id="1097" r:id="rId32"/>
    <p:sldId id="1098" r:id="rId33"/>
    <p:sldId id="1099" r:id="rId34"/>
    <p:sldId id="1100" r:id="rId35"/>
    <p:sldId id="1101" r:id="rId36"/>
    <p:sldId id="1102" r:id="rId37"/>
    <p:sldId id="1103" r:id="rId38"/>
    <p:sldId id="1104" r:id="rId39"/>
    <p:sldId id="1105" r:id="rId40"/>
    <p:sldId id="1106" r:id="rId41"/>
    <p:sldId id="1108" r:id="rId42"/>
    <p:sldId id="1109" r:id="rId43"/>
    <p:sldId id="1110" r:id="rId44"/>
    <p:sldId id="1111" r:id="rId45"/>
    <p:sldId id="1112" r:id="rId46"/>
    <p:sldId id="1113" r:id="rId47"/>
    <p:sldId id="1107" r:id="rId48"/>
    <p:sldId id="1114" r:id="rId49"/>
    <p:sldId id="1115" r:id="rId50"/>
    <p:sldId id="1116" r:id="rId51"/>
    <p:sldId id="1117" r:id="rId52"/>
    <p:sldId id="1118" r:id="rId53"/>
    <p:sldId id="1119" r:id="rId54"/>
    <p:sldId id="1120" r:id="rId55"/>
    <p:sldId id="1121" r:id="rId56"/>
    <p:sldId id="1122" r:id="rId57"/>
    <p:sldId id="1123" r:id="rId58"/>
    <p:sldId id="1124" r:id="rId59"/>
    <p:sldId id="1125" r:id="rId60"/>
    <p:sldId id="1126" r:id="rId61"/>
    <p:sldId id="1127" r:id="rId62"/>
    <p:sldId id="1128" r:id="rId63"/>
    <p:sldId id="1129" r:id="rId64"/>
    <p:sldId id="1130" r:id="rId65"/>
    <p:sldId id="1131" r:id="rId66"/>
    <p:sldId id="1135" r:id="rId67"/>
  </p:sldIdLst>
  <p:sldSz cx="12192000" cy="6858000"/>
  <p:notesSz cx="6797675" cy="9874250"/>
  <p:custDataLst>
    <p:tags r:id="rId70"/>
  </p:custDataLst>
  <p:defaultTextStyle>
    <a:defPPr>
      <a:defRPr lang="ko-KR"/>
    </a:defPPr>
    <a:lvl1pPr algn="l" rtl="0" eaLnBrk="0" fontAlgn="base" hangingPunct="0">
      <a:spcBef>
        <a:spcPct val="0"/>
      </a:spcBef>
      <a:spcAft>
        <a:spcPct val="0"/>
      </a:spcAft>
      <a:defRPr kumimoji="1" sz="1400" kern="1200">
        <a:solidFill>
          <a:srgbClr val="2B3749"/>
        </a:solidFill>
        <a:latin typeface="맑은 고딕" panose="020B0503020000020004" pitchFamily="50" charset="-127"/>
        <a:ea typeface="맑은 고딕" panose="020B0503020000020004" pitchFamily="50" charset="-127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umimoji="1" sz="1400" kern="1200">
        <a:solidFill>
          <a:srgbClr val="2B3749"/>
        </a:solidFill>
        <a:latin typeface="맑은 고딕" panose="020B0503020000020004" pitchFamily="50" charset="-127"/>
        <a:ea typeface="맑은 고딕" panose="020B0503020000020004" pitchFamily="50" charset="-127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umimoji="1" sz="1400" kern="1200">
        <a:solidFill>
          <a:srgbClr val="2B3749"/>
        </a:solidFill>
        <a:latin typeface="맑은 고딕" panose="020B0503020000020004" pitchFamily="50" charset="-127"/>
        <a:ea typeface="맑은 고딕" panose="020B0503020000020004" pitchFamily="50" charset="-127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umimoji="1" sz="1400" kern="1200">
        <a:solidFill>
          <a:srgbClr val="2B3749"/>
        </a:solidFill>
        <a:latin typeface="맑은 고딕" panose="020B0503020000020004" pitchFamily="50" charset="-127"/>
        <a:ea typeface="맑은 고딕" panose="020B0503020000020004" pitchFamily="50" charset="-127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umimoji="1" sz="1400" kern="1200">
        <a:solidFill>
          <a:srgbClr val="2B3749"/>
        </a:solidFill>
        <a:latin typeface="맑은 고딕" panose="020B0503020000020004" pitchFamily="50" charset="-127"/>
        <a:ea typeface="맑은 고딕" panose="020B0503020000020004" pitchFamily="50" charset="-127"/>
        <a:cs typeface="+mn-cs"/>
      </a:defRPr>
    </a:lvl5pPr>
    <a:lvl6pPr marL="2286000" algn="l" defTabSz="914400" rtl="0" eaLnBrk="1" latinLnBrk="1" hangingPunct="1">
      <a:defRPr kumimoji="1" sz="1400" kern="1200">
        <a:solidFill>
          <a:srgbClr val="2B3749"/>
        </a:solidFill>
        <a:latin typeface="맑은 고딕" panose="020B0503020000020004" pitchFamily="50" charset="-127"/>
        <a:ea typeface="맑은 고딕" panose="020B0503020000020004" pitchFamily="50" charset="-127"/>
        <a:cs typeface="+mn-cs"/>
      </a:defRPr>
    </a:lvl6pPr>
    <a:lvl7pPr marL="2743200" algn="l" defTabSz="914400" rtl="0" eaLnBrk="1" latinLnBrk="1" hangingPunct="1">
      <a:defRPr kumimoji="1" sz="1400" kern="1200">
        <a:solidFill>
          <a:srgbClr val="2B3749"/>
        </a:solidFill>
        <a:latin typeface="맑은 고딕" panose="020B0503020000020004" pitchFamily="50" charset="-127"/>
        <a:ea typeface="맑은 고딕" panose="020B0503020000020004" pitchFamily="50" charset="-127"/>
        <a:cs typeface="+mn-cs"/>
      </a:defRPr>
    </a:lvl7pPr>
    <a:lvl8pPr marL="3200400" algn="l" defTabSz="914400" rtl="0" eaLnBrk="1" latinLnBrk="1" hangingPunct="1">
      <a:defRPr kumimoji="1" sz="1400" kern="1200">
        <a:solidFill>
          <a:srgbClr val="2B3749"/>
        </a:solidFill>
        <a:latin typeface="맑은 고딕" panose="020B0503020000020004" pitchFamily="50" charset="-127"/>
        <a:ea typeface="맑은 고딕" panose="020B0503020000020004" pitchFamily="50" charset="-127"/>
        <a:cs typeface="+mn-cs"/>
      </a:defRPr>
    </a:lvl8pPr>
    <a:lvl9pPr marL="3657600" algn="l" defTabSz="914400" rtl="0" eaLnBrk="1" latinLnBrk="1" hangingPunct="1">
      <a:defRPr kumimoji="1" sz="1400" kern="1200">
        <a:solidFill>
          <a:srgbClr val="2B3749"/>
        </a:solidFill>
        <a:latin typeface="맑은 고딕" panose="020B0503020000020004" pitchFamily="50" charset="-127"/>
        <a:ea typeface="맑은 고딕" panose="020B0503020000020004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88" userDrawn="1">
          <p15:clr>
            <a:srgbClr val="A4A3A4"/>
          </p15:clr>
        </p15:guide>
        <p15:guide id="2" orient="horz" pos="142" userDrawn="1">
          <p15:clr>
            <a:srgbClr val="A4A3A4"/>
          </p15:clr>
        </p15:guide>
        <p15:guide id="3" pos="212" userDrawn="1">
          <p15:clr>
            <a:srgbClr val="A4A3A4"/>
          </p15:clr>
        </p15:guide>
        <p15:guide id="4" pos="74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FFCC99"/>
    <a:srgbClr val="FFED9F"/>
    <a:srgbClr val="FFD700"/>
    <a:srgbClr val="00008B"/>
    <a:srgbClr val="F462C7"/>
    <a:srgbClr val="000000"/>
    <a:srgbClr val="99FDEC"/>
    <a:srgbClr val="F89EDC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188" autoAdjust="0"/>
    <p:restoredTop sz="92683" autoAdjust="0"/>
  </p:normalViewPr>
  <p:slideViewPr>
    <p:cSldViewPr snapToObjects="1">
      <p:cViewPr varScale="1">
        <p:scale>
          <a:sx n="63" d="100"/>
          <a:sy n="63" d="100"/>
        </p:scale>
        <p:origin x="1108" y="64"/>
      </p:cViewPr>
      <p:guideLst>
        <p:guide orient="horz" pos="4088"/>
        <p:guide orient="horz" pos="142"/>
        <p:guide pos="212"/>
        <p:guide pos="746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4" d="100"/>
        <a:sy n="34" d="100"/>
      </p:scale>
      <p:origin x="0" y="0"/>
    </p:cViewPr>
  </p:sorterViewPr>
  <p:notesViewPr>
    <p:cSldViewPr snapToObjects="1">
      <p:cViewPr varScale="1">
        <p:scale>
          <a:sx n="86" d="100"/>
          <a:sy n="86" d="100"/>
        </p:scale>
        <p:origin x="3192" y="84"/>
      </p:cViewPr>
      <p:guideLst>
        <p:guide orient="horz" pos="3110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notesMaster" Target="notesMasters/notesMaster1.xml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74" Type="http://schemas.openxmlformats.org/officeDocument/2006/relationships/tableStyles" Target="tableStyles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handoutMaster" Target="handoutMasters/handoutMaster1.xml"/><Relationship Id="rId77" Type="http://schemas.openxmlformats.org/officeDocument/2006/relationships/customXml" Target="../customXml/item3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viewProps" Target="viewProp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tags" Target="tags/tag1.xml"/><Relationship Id="rId75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customXml" Target="../customXml/item2.xml"/><Relationship Id="rId7" Type="http://schemas.openxmlformats.org/officeDocument/2006/relationships/slide" Target="slides/slide5.xml"/><Relationship Id="rId71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EABE511C-0FA6-4D51-A8B3-7C04F07918F8}" type="datetimeFigureOut">
              <a:rPr lang="ko-KR" altLang="en-US"/>
              <a:pPr>
                <a:defRPr/>
              </a:pPr>
              <a:t>2023-06-21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959E5A63-28D4-4E7E-9E7C-08904FEF9EB0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791825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620" tIns="46310" rIns="92620" bIns="46310" numCol="1" anchor="t" anchorCtr="0" compatLnSpc="1">
            <a:prstTxWarp prst="textNoShape">
              <a:avLst/>
            </a:prstTxWarp>
          </a:bodyPr>
          <a:lstStyle>
            <a:lvl1pPr algn="l" defTabSz="925513" eaLnBrk="1" latinLnBrk="1" hangingPunct="1">
              <a:defRPr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620" tIns="46310" rIns="92620" bIns="46310" numCol="1" anchor="t" anchorCtr="0" compatLnSpc="1">
            <a:prstTxWarp prst="textNoShape">
              <a:avLst/>
            </a:prstTxWarp>
          </a:bodyPr>
          <a:lstStyle>
            <a:lvl1pPr algn="r" defTabSz="925513" eaLnBrk="1" latinLnBrk="1" hangingPunct="1">
              <a:defRPr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2713" y="742950"/>
            <a:ext cx="6578600" cy="37004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691063"/>
            <a:ext cx="5438775" cy="444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620" tIns="46310" rIns="92620" bIns="4631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/>
              <a:t>마스터 텍스트 스타일을 편집합니다</a:t>
            </a:r>
          </a:p>
          <a:p>
            <a:pPr lvl="1"/>
            <a:r>
              <a:rPr lang="ko-KR" altLang="en-US" noProof="0"/>
              <a:t>둘째 수준</a:t>
            </a:r>
          </a:p>
          <a:p>
            <a:pPr lvl="2"/>
            <a:r>
              <a:rPr lang="ko-KR" altLang="en-US" noProof="0"/>
              <a:t>셋째 수준</a:t>
            </a:r>
          </a:p>
          <a:p>
            <a:pPr lvl="3"/>
            <a:r>
              <a:rPr lang="ko-KR" altLang="en-US" noProof="0"/>
              <a:t>넷째 수준</a:t>
            </a:r>
          </a:p>
          <a:p>
            <a:pPr lvl="4"/>
            <a:r>
              <a:rPr lang="ko-KR" altLang="en-US" noProof="0"/>
              <a:t>다섯째 수준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620" tIns="46310" rIns="92620" bIns="46310" numCol="1" anchor="b" anchorCtr="0" compatLnSpc="1">
            <a:prstTxWarp prst="textNoShape">
              <a:avLst/>
            </a:prstTxWarp>
          </a:bodyPr>
          <a:lstStyle>
            <a:lvl1pPr algn="l" defTabSz="925513" eaLnBrk="1" latinLnBrk="1" hangingPunct="1">
              <a:defRPr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620" tIns="46310" rIns="92620" bIns="46310" numCol="1" anchor="b" anchorCtr="0" compatLnSpc="1">
            <a:prstTxWarp prst="textNoShape">
              <a:avLst/>
            </a:prstTxWarp>
          </a:bodyPr>
          <a:lstStyle>
            <a:lvl1pPr algn="r" defTabSz="925513" eaLnBrk="1" latinLnBrk="1" hangingPunct="1">
              <a:defRPr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</a:lstStyle>
          <a:p>
            <a:pPr>
              <a:defRPr/>
            </a:pPr>
            <a:fld id="{524695D2-9D53-4741-8B14-4E817D3A42AD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00551855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1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0513518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dirty="0"/>
              <a:t>https://www.youtube.com/watch?v=O0NF4tKe5lM&amp;t=3s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11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9177473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dirty="0"/>
              <a:t>https://www.youtube.com/watch?v=O0NF4tKe5lM&amp;t=3s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12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9261935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dirty="0"/>
              <a:t>https://www.youtube.com/watch?v=O0NF4tKe5lM&amp;t=3s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13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0982723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dirty="0"/>
              <a:t>https://www.youtube.com/watch?v=O0NF4tKe5lM&amp;t=3s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14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2225131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dirty="0"/>
              <a:t>https://www.youtube.com/watch?v=O0NF4tKe5lM&amp;t=3s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15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3632959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dirty="0"/>
              <a:t>https://www.youtube.com/watch?v=O0NF4tKe5lM&amp;t=3s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16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90145194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dirty="0"/>
              <a:t>https://www.youtube.com/watch?v=O0NF4tKe5lM&amp;t=3s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17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1044108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dirty="0"/>
              <a:t>https://www.youtube.com/watch?v=O0NF4tKe5lM&amp;t=3s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18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21801748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19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39995030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20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2642994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3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92008736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21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25421703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22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35823423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23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54989756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24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8655983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25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87853579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26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5943313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27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38642413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28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09559607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29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51405786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30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5871706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dirty="0"/>
              <a:t>https://www.youtube.com/watch?v=O0NF4tKe5lM&amp;t=3s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4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05982994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31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5487665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32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63385406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33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53954480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34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25247700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35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50741686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36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84937682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37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08937905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38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62413771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39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33246311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40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1844534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dirty="0"/>
              <a:t>https://www.youtube.com/watch?v=O0NF4tKe5lM&amp;t=3s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5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38366445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41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09482895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42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26684633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43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63244748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44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71174974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45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757285452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46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1581426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dirty="0"/>
              <a:t>https://www.youtube.com/watch?v=O0NF4tKe5lM&amp;t=3s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47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79700111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dirty="0"/>
              <a:t>https://www.youtube.com/watch?v=O0NF4tKe5lM&amp;t=3s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48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921628180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dirty="0"/>
              <a:t>https://www.youtube.com/watch?v=O0NF4tKe5lM&amp;t=3s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49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964322809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dirty="0"/>
              <a:t>https://support.minitab.com/en-us/minitab/18/help-and-how-to/modeling-statistics/doe/supporting-topics/response-surface-designs/response-surface-central-composite-and-box-behnken-designs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50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3073348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dirty="0"/>
              <a:t>https://www.youtube.com/watch?v=O0NF4tKe5lM&amp;t=3s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6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570985041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51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29449445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52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171101070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53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509471605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54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340731172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55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268540604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56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49769568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57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49724239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58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584477585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dirty="0"/>
              <a:t>https://support.minitab.com/en-us/minitab/18/help-and-how-to/modeling-statistics/doe/supporting-topics/response-surface-designs/response-surface-central-composite-and-box-behnken-designs/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59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783476993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dirty="0"/>
              <a:t>https://support.minitab.com/en-us/minitab/18/help-and-how-to/modeling-statistics/doe/supporting-topics/response-surface-designs/response-surface-central-composite-and-box-behnken-designs/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60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5869096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dirty="0"/>
              <a:t>https://www.youtube.com/watch?v=O0NF4tKe5lM&amp;t=3s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7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461806051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61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545100289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62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970738899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63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77023216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64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6095325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dirty="0"/>
              <a:t>https://www.youtube.com/watch?v=O0NF4tKe5lM&amp;t=3s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8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2168698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dirty="0"/>
              <a:t>https://www.youtube.com/watch?v=O0NF4tKe5lM&amp;t=3s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9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370699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8600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dirty="0"/>
              <a:t>https://www.youtube.com/watch?v=O0NF4tKe5lM&amp;t=3s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4695D2-9D53-4741-8B14-4E817D3A42AD}" type="slidenum">
              <a:rPr lang="en-US" altLang="ko-KR" smtClean="0"/>
              <a:pPr>
                <a:defRPr/>
              </a:pPr>
              <a:t>10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6879556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562722" indent="0" algn="ctr">
              <a:buNone/>
              <a:defRPr/>
            </a:lvl2pPr>
            <a:lvl3pPr marL="1125444" indent="0" algn="ctr">
              <a:buNone/>
              <a:defRPr/>
            </a:lvl3pPr>
            <a:lvl4pPr marL="1688165" indent="0" algn="ctr">
              <a:buNone/>
              <a:defRPr/>
            </a:lvl4pPr>
            <a:lvl5pPr marL="2250887" indent="0" algn="ctr">
              <a:buNone/>
              <a:defRPr/>
            </a:lvl5pPr>
            <a:lvl6pPr marL="2813609" indent="0" algn="ctr">
              <a:buNone/>
              <a:defRPr/>
            </a:lvl6pPr>
            <a:lvl7pPr marL="3376331" indent="0" algn="ctr">
              <a:buNone/>
              <a:defRPr/>
            </a:lvl7pPr>
            <a:lvl8pPr marL="3939052" indent="0" algn="ctr">
              <a:buNone/>
              <a:defRPr/>
            </a:lvl8pPr>
            <a:lvl9pPr marL="4501774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567F9A-E78D-41A1-BE93-92019483F86F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6626283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6719C3-1FF9-4866-8919-D52187D82200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4449703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8770816" y="1052513"/>
            <a:ext cx="2811584" cy="5073650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336062" y="1052513"/>
            <a:ext cx="8247185" cy="50736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AEED7C-7190-40A3-B20F-721B435BE2C1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740400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제목 및 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36062" y="1052513"/>
            <a:ext cx="10013462" cy="431800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표 개체 틀 2"/>
          <p:cNvSpPr>
            <a:spLocks noGrp="1"/>
          </p:cNvSpPr>
          <p:nvPr>
            <p:ph type="tbl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ko-KR" altLang="en-US" noProof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A3EFE8-C838-45C8-8079-8B2673051792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082900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562722" indent="0" algn="ctr">
              <a:buNone/>
              <a:defRPr/>
            </a:lvl2pPr>
            <a:lvl3pPr marL="1125444" indent="0" algn="ctr">
              <a:buNone/>
              <a:defRPr/>
            </a:lvl3pPr>
            <a:lvl4pPr marL="1688165" indent="0" algn="ctr">
              <a:buNone/>
              <a:defRPr/>
            </a:lvl4pPr>
            <a:lvl5pPr marL="2250887" indent="0" algn="ctr">
              <a:buNone/>
              <a:defRPr/>
            </a:lvl5pPr>
            <a:lvl6pPr marL="2813609" indent="0" algn="ctr">
              <a:buNone/>
              <a:defRPr/>
            </a:lvl6pPr>
            <a:lvl7pPr marL="3376331" indent="0" algn="ctr">
              <a:buNone/>
              <a:defRPr/>
            </a:lvl7pPr>
            <a:lvl8pPr marL="3939052" indent="0" algn="ctr">
              <a:buNone/>
              <a:defRPr/>
            </a:lvl8pPr>
            <a:lvl9pPr marL="4501774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3074433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6399154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963247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923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963247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62"/>
            </a:lvl1pPr>
            <a:lvl2pPr marL="562722" indent="0">
              <a:buNone/>
              <a:defRPr sz="2215"/>
            </a:lvl2pPr>
            <a:lvl3pPr marL="1125444" indent="0">
              <a:buNone/>
              <a:defRPr sz="1969"/>
            </a:lvl3pPr>
            <a:lvl4pPr marL="1688165" indent="0">
              <a:buNone/>
              <a:defRPr sz="1723"/>
            </a:lvl4pPr>
            <a:lvl5pPr marL="2250887" indent="0">
              <a:buNone/>
              <a:defRPr sz="1723"/>
            </a:lvl5pPr>
            <a:lvl6pPr marL="2813609" indent="0">
              <a:buNone/>
              <a:defRPr sz="1723"/>
            </a:lvl6pPr>
            <a:lvl7pPr marL="3376331" indent="0">
              <a:buNone/>
              <a:defRPr sz="1723"/>
            </a:lvl7pPr>
            <a:lvl8pPr marL="3939052" indent="0">
              <a:buNone/>
              <a:defRPr sz="1723"/>
            </a:lvl8pPr>
            <a:lvl9pPr marL="4501774" indent="0">
              <a:buNone/>
              <a:defRPr sz="1723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4624250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92615" cy="4525963"/>
          </a:xfrm>
          <a:prstGeom prst="rect">
            <a:avLst/>
          </a:prstGeom>
        </p:spPr>
        <p:txBody>
          <a:bodyPr/>
          <a:lstStyle>
            <a:lvl1pPr>
              <a:defRPr sz="3446"/>
            </a:lvl1pPr>
            <a:lvl2pPr>
              <a:defRPr sz="2954"/>
            </a:lvl2pPr>
            <a:lvl3pPr>
              <a:defRPr sz="2462"/>
            </a:lvl3pPr>
            <a:lvl4pPr>
              <a:defRPr sz="2215"/>
            </a:lvl4pPr>
            <a:lvl5pPr>
              <a:defRPr sz="2215"/>
            </a:lvl5pPr>
            <a:lvl6pPr>
              <a:defRPr sz="2215"/>
            </a:lvl6pPr>
            <a:lvl7pPr>
              <a:defRPr sz="2215"/>
            </a:lvl7pPr>
            <a:lvl8pPr>
              <a:defRPr sz="2215"/>
            </a:lvl8pPr>
            <a:lvl9pPr>
              <a:defRPr sz="2215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189785" y="1600201"/>
            <a:ext cx="5392615" cy="4525963"/>
          </a:xfrm>
          <a:prstGeom prst="rect">
            <a:avLst/>
          </a:prstGeom>
        </p:spPr>
        <p:txBody>
          <a:bodyPr/>
          <a:lstStyle>
            <a:lvl1pPr>
              <a:defRPr sz="3446"/>
            </a:lvl1pPr>
            <a:lvl2pPr>
              <a:defRPr sz="2954"/>
            </a:lvl2pPr>
            <a:lvl3pPr>
              <a:defRPr sz="2462"/>
            </a:lvl3pPr>
            <a:lvl4pPr>
              <a:defRPr sz="2215"/>
            </a:lvl4pPr>
            <a:lvl5pPr>
              <a:defRPr sz="2215"/>
            </a:lvl5pPr>
            <a:lvl6pPr>
              <a:defRPr sz="2215"/>
            </a:lvl6pPr>
            <a:lvl7pPr>
              <a:defRPr sz="2215"/>
            </a:lvl7pPr>
            <a:lvl8pPr>
              <a:defRPr sz="2215"/>
            </a:lvl8pPr>
            <a:lvl9pPr>
              <a:defRPr sz="2215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18275630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754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954" b="1"/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754" cy="3951288"/>
          </a:xfrm>
          <a:prstGeom prst="rect">
            <a:avLst/>
          </a:prstGeom>
        </p:spPr>
        <p:txBody>
          <a:bodyPr/>
          <a:lstStyle>
            <a:lvl1pPr>
              <a:defRPr sz="2954"/>
            </a:lvl1pPr>
            <a:lvl2pPr>
              <a:defRPr sz="2462"/>
            </a:lvl2pPr>
            <a:lvl3pPr>
              <a:defRPr sz="2215"/>
            </a:lvl3pPr>
            <a:lvl4pPr>
              <a:defRPr sz="1969"/>
            </a:lvl4pPr>
            <a:lvl5pPr>
              <a:defRPr sz="1969"/>
            </a:lvl5pPr>
            <a:lvl6pPr>
              <a:defRPr sz="1969"/>
            </a:lvl6pPr>
            <a:lvl7pPr>
              <a:defRPr sz="1969"/>
            </a:lvl7pPr>
            <a:lvl8pPr>
              <a:defRPr sz="1969"/>
            </a:lvl8pPr>
            <a:lvl9pPr>
              <a:defRPr sz="1969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6193693" y="1535113"/>
            <a:ext cx="538870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954" b="1"/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193693" y="2174875"/>
            <a:ext cx="5388708" cy="3951288"/>
          </a:xfrm>
          <a:prstGeom prst="rect">
            <a:avLst/>
          </a:prstGeom>
        </p:spPr>
        <p:txBody>
          <a:bodyPr/>
          <a:lstStyle>
            <a:lvl1pPr>
              <a:defRPr sz="2954"/>
            </a:lvl1pPr>
            <a:lvl2pPr>
              <a:defRPr sz="2462"/>
            </a:lvl2pPr>
            <a:lvl3pPr>
              <a:defRPr sz="2215"/>
            </a:lvl3pPr>
            <a:lvl4pPr>
              <a:defRPr sz="1969"/>
            </a:lvl4pPr>
            <a:lvl5pPr>
              <a:defRPr sz="1969"/>
            </a:lvl5pPr>
            <a:lvl6pPr>
              <a:defRPr sz="1969"/>
            </a:lvl6pPr>
            <a:lvl7pPr>
              <a:defRPr sz="1969"/>
            </a:lvl7pPr>
            <a:lvl8pPr>
              <a:defRPr sz="1969"/>
            </a:lvl8pPr>
            <a:lvl9pPr>
              <a:defRPr sz="1969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22884268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9633450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47718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609600" y="980729"/>
            <a:ext cx="10972800" cy="514543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BF992C-F1AA-4A66-8CC7-87949E2D5226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5702423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247" cy="1162050"/>
          </a:xfrm>
          <a:prstGeom prst="rect">
            <a:avLst/>
          </a:prstGeom>
        </p:spPr>
        <p:txBody>
          <a:bodyPr anchor="b"/>
          <a:lstStyle>
            <a:lvl1pPr algn="l">
              <a:defRPr sz="2462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767385" y="273051"/>
            <a:ext cx="6815015" cy="5853113"/>
          </a:xfrm>
          <a:prstGeom prst="rect">
            <a:avLst/>
          </a:prstGeom>
        </p:spPr>
        <p:txBody>
          <a:bodyPr/>
          <a:lstStyle>
            <a:lvl1pPr>
              <a:defRPr sz="3939"/>
            </a:lvl1pPr>
            <a:lvl2pPr>
              <a:defRPr sz="3446"/>
            </a:lvl2pPr>
            <a:lvl3pPr>
              <a:defRPr sz="2954"/>
            </a:lvl3pPr>
            <a:lvl4pPr>
              <a:defRPr sz="2462"/>
            </a:lvl4pPr>
            <a:lvl5pPr>
              <a:defRPr sz="2462"/>
            </a:lvl5pPr>
            <a:lvl6pPr>
              <a:defRPr sz="2462"/>
            </a:lvl6pPr>
            <a:lvl7pPr>
              <a:defRPr sz="2462"/>
            </a:lvl7pPr>
            <a:lvl8pPr>
              <a:defRPr sz="2462"/>
            </a:lvl8pPr>
            <a:lvl9pPr>
              <a:defRPr sz="2462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609600" y="1435101"/>
            <a:ext cx="4011247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23"/>
            </a:lvl1pPr>
            <a:lvl2pPr marL="562722" indent="0">
              <a:buNone/>
              <a:defRPr sz="1477"/>
            </a:lvl2pPr>
            <a:lvl3pPr marL="1125444" indent="0">
              <a:buNone/>
              <a:defRPr sz="1231"/>
            </a:lvl3pPr>
            <a:lvl4pPr marL="1688165" indent="0">
              <a:buNone/>
              <a:defRPr sz="1108"/>
            </a:lvl4pPr>
            <a:lvl5pPr marL="2250887" indent="0">
              <a:buNone/>
              <a:defRPr sz="1108"/>
            </a:lvl5pPr>
            <a:lvl6pPr marL="2813609" indent="0">
              <a:buNone/>
              <a:defRPr sz="1108"/>
            </a:lvl6pPr>
            <a:lvl7pPr marL="3376331" indent="0">
              <a:buNone/>
              <a:defRPr sz="1108"/>
            </a:lvl7pPr>
            <a:lvl8pPr marL="3939052" indent="0">
              <a:buNone/>
              <a:defRPr sz="1108"/>
            </a:lvl8pPr>
            <a:lvl9pPr marL="4501774" indent="0">
              <a:buNone/>
              <a:defRPr sz="1108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3309668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389554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462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2389554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39"/>
            </a:lvl1pPr>
            <a:lvl2pPr marL="562722" indent="0">
              <a:buNone/>
              <a:defRPr sz="3446"/>
            </a:lvl2pPr>
            <a:lvl3pPr marL="1125444" indent="0">
              <a:buNone/>
              <a:defRPr sz="2954"/>
            </a:lvl3pPr>
            <a:lvl4pPr marL="1688165" indent="0">
              <a:buNone/>
              <a:defRPr sz="2462"/>
            </a:lvl4pPr>
            <a:lvl5pPr marL="2250887" indent="0">
              <a:buNone/>
              <a:defRPr sz="2462"/>
            </a:lvl5pPr>
            <a:lvl6pPr marL="2813609" indent="0">
              <a:buNone/>
              <a:defRPr sz="2462"/>
            </a:lvl6pPr>
            <a:lvl7pPr marL="3376331" indent="0">
              <a:buNone/>
              <a:defRPr sz="2462"/>
            </a:lvl7pPr>
            <a:lvl8pPr marL="3939052" indent="0">
              <a:buNone/>
              <a:defRPr sz="2462"/>
            </a:lvl8pPr>
            <a:lvl9pPr marL="4501774" indent="0">
              <a:buNone/>
              <a:defRPr sz="2462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2389554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23"/>
            </a:lvl1pPr>
            <a:lvl2pPr marL="562722" indent="0">
              <a:buNone/>
              <a:defRPr sz="1477"/>
            </a:lvl2pPr>
            <a:lvl3pPr marL="1125444" indent="0">
              <a:buNone/>
              <a:defRPr sz="1231"/>
            </a:lvl3pPr>
            <a:lvl4pPr marL="1688165" indent="0">
              <a:buNone/>
              <a:defRPr sz="1108"/>
            </a:lvl4pPr>
            <a:lvl5pPr marL="2250887" indent="0">
              <a:buNone/>
              <a:defRPr sz="1108"/>
            </a:lvl5pPr>
            <a:lvl6pPr marL="2813609" indent="0">
              <a:buNone/>
              <a:defRPr sz="1108"/>
            </a:lvl6pPr>
            <a:lvl7pPr marL="3376331" indent="0">
              <a:buNone/>
              <a:defRPr sz="1108"/>
            </a:lvl7pPr>
            <a:lvl8pPr marL="3939052" indent="0">
              <a:buNone/>
              <a:defRPr sz="1108"/>
            </a:lvl8pPr>
            <a:lvl9pPr marL="4501774" indent="0">
              <a:buNone/>
              <a:defRPr sz="1108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924806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15881366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42031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34047605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963247" y="4406901"/>
            <a:ext cx="10363200" cy="1362075"/>
          </a:xfrm>
        </p:spPr>
        <p:txBody>
          <a:bodyPr anchor="t"/>
          <a:lstStyle>
            <a:lvl1pPr algn="l">
              <a:defRPr sz="4923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963247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62"/>
            </a:lvl1pPr>
            <a:lvl2pPr marL="562722" indent="0">
              <a:buNone/>
              <a:defRPr sz="2215"/>
            </a:lvl2pPr>
            <a:lvl3pPr marL="1125444" indent="0">
              <a:buNone/>
              <a:defRPr sz="1969"/>
            </a:lvl3pPr>
            <a:lvl4pPr marL="1688165" indent="0">
              <a:buNone/>
              <a:defRPr sz="1723"/>
            </a:lvl4pPr>
            <a:lvl5pPr marL="2250887" indent="0">
              <a:buNone/>
              <a:defRPr sz="1723"/>
            </a:lvl5pPr>
            <a:lvl6pPr marL="2813609" indent="0">
              <a:buNone/>
              <a:defRPr sz="1723"/>
            </a:lvl6pPr>
            <a:lvl7pPr marL="3376331" indent="0">
              <a:buNone/>
              <a:defRPr sz="1723"/>
            </a:lvl7pPr>
            <a:lvl8pPr marL="3939052" indent="0">
              <a:buNone/>
              <a:defRPr sz="1723"/>
            </a:lvl8pPr>
            <a:lvl9pPr marL="4501774" indent="0">
              <a:buNone/>
              <a:defRPr sz="1723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B3D587-9E88-4BBC-A5ED-063E6CDE2F6D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69350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92615" cy="4525963"/>
          </a:xfrm>
          <a:prstGeom prst="rect">
            <a:avLst/>
          </a:prstGeom>
        </p:spPr>
        <p:txBody>
          <a:bodyPr/>
          <a:lstStyle>
            <a:lvl1pPr>
              <a:defRPr sz="3446"/>
            </a:lvl1pPr>
            <a:lvl2pPr>
              <a:defRPr sz="2954"/>
            </a:lvl2pPr>
            <a:lvl3pPr>
              <a:defRPr sz="2462"/>
            </a:lvl3pPr>
            <a:lvl4pPr>
              <a:defRPr sz="2215"/>
            </a:lvl4pPr>
            <a:lvl5pPr>
              <a:defRPr sz="2215"/>
            </a:lvl5pPr>
            <a:lvl6pPr>
              <a:defRPr sz="2215"/>
            </a:lvl6pPr>
            <a:lvl7pPr>
              <a:defRPr sz="2215"/>
            </a:lvl7pPr>
            <a:lvl8pPr>
              <a:defRPr sz="2215"/>
            </a:lvl8pPr>
            <a:lvl9pPr>
              <a:defRPr sz="2215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189785" y="1600201"/>
            <a:ext cx="5392615" cy="4525963"/>
          </a:xfrm>
          <a:prstGeom prst="rect">
            <a:avLst/>
          </a:prstGeom>
        </p:spPr>
        <p:txBody>
          <a:bodyPr/>
          <a:lstStyle>
            <a:lvl1pPr>
              <a:defRPr sz="3446"/>
            </a:lvl1pPr>
            <a:lvl2pPr>
              <a:defRPr sz="2954"/>
            </a:lvl2pPr>
            <a:lvl3pPr>
              <a:defRPr sz="2462"/>
            </a:lvl3pPr>
            <a:lvl4pPr>
              <a:defRPr sz="2215"/>
            </a:lvl4pPr>
            <a:lvl5pPr>
              <a:defRPr sz="2215"/>
            </a:lvl5pPr>
            <a:lvl6pPr>
              <a:defRPr sz="2215"/>
            </a:lvl6pPr>
            <a:lvl7pPr>
              <a:defRPr sz="2215"/>
            </a:lvl7pPr>
            <a:lvl8pPr>
              <a:defRPr sz="2215"/>
            </a:lvl8pPr>
            <a:lvl9pPr>
              <a:defRPr sz="2215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37D5C8-CBD0-466B-8C80-D963F5617AB6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5902843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754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954" b="1"/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754" cy="3951288"/>
          </a:xfrm>
          <a:prstGeom prst="rect">
            <a:avLst/>
          </a:prstGeom>
        </p:spPr>
        <p:txBody>
          <a:bodyPr/>
          <a:lstStyle>
            <a:lvl1pPr>
              <a:defRPr sz="2954"/>
            </a:lvl1pPr>
            <a:lvl2pPr>
              <a:defRPr sz="2462"/>
            </a:lvl2pPr>
            <a:lvl3pPr>
              <a:defRPr sz="2215"/>
            </a:lvl3pPr>
            <a:lvl4pPr>
              <a:defRPr sz="1969"/>
            </a:lvl4pPr>
            <a:lvl5pPr>
              <a:defRPr sz="1969"/>
            </a:lvl5pPr>
            <a:lvl6pPr>
              <a:defRPr sz="1969"/>
            </a:lvl6pPr>
            <a:lvl7pPr>
              <a:defRPr sz="1969"/>
            </a:lvl7pPr>
            <a:lvl8pPr>
              <a:defRPr sz="1969"/>
            </a:lvl8pPr>
            <a:lvl9pPr>
              <a:defRPr sz="1969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6193693" y="1535113"/>
            <a:ext cx="538870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954" b="1"/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193693" y="2174875"/>
            <a:ext cx="5388708" cy="3951288"/>
          </a:xfrm>
          <a:prstGeom prst="rect">
            <a:avLst/>
          </a:prstGeom>
        </p:spPr>
        <p:txBody>
          <a:bodyPr/>
          <a:lstStyle>
            <a:lvl1pPr>
              <a:defRPr sz="2954"/>
            </a:lvl1pPr>
            <a:lvl2pPr>
              <a:defRPr sz="2462"/>
            </a:lvl2pPr>
            <a:lvl3pPr>
              <a:defRPr sz="2215"/>
            </a:lvl3pPr>
            <a:lvl4pPr>
              <a:defRPr sz="1969"/>
            </a:lvl4pPr>
            <a:lvl5pPr>
              <a:defRPr sz="1969"/>
            </a:lvl5pPr>
            <a:lvl6pPr>
              <a:defRPr sz="1969"/>
            </a:lvl6pPr>
            <a:lvl7pPr>
              <a:defRPr sz="1969"/>
            </a:lvl7pPr>
            <a:lvl8pPr>
              <a:defRPr sz="1969"/>
            </a:lvl8pPr>
            <a:lvl9pPr>
              <a:defRPr sz="1969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B691C7-E646-43CD-B762-BB00A3AEE52F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6495933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2E67BE-DBC0-4623-8B14-EB6DFEF5475A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2736847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C0A1F7-B8A1-42CB-81DC-06B1B2881CE1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446782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247" cy="1162050"/>
          </a:xfrm>
        </p:spPr>
        <p:txBody>
          <a:bodyPr anchor="b"/>
          <a:lstStyle>
            <a:lvl1pPr algn="l">
              <a:defRPr sz="2462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767385" y="273051"/>
            <a:ext cx="6815015" cy="5853113"/>
          </a:xfrm>
          <a:prstGeom prst="rect">
            <a:avLst/>
          </a:prstGeom>
        </p:spPr>
        <p:txBody>
          <a:bodyPr/>
          <a:lstStyle>
            <a:lvl1pPr>
              <a:defRPr sz="3939"/>
            </a:lvl1pPr>
            <a:lvl2pPr>
              <a:defRPr sz="3446"/>
            </a:lvl2pPr>
            <a:lvl3pPr>
              <a:defRPr sz="2954"/>
            </a:lvl3pPr>
            <a:lvl4pPr>
              <a:defRPr sz="2462"/>
            </a:lvl4pPr>
            <a:lvl5pPr>
              <a:defRPr sz="2462"/>
            </a:lvl5pPr>
            <a:lvl6pPr>
              <a:defRPr sz="2462"/>
            </a:lvl6pPr>
            <a:lvl7pPr>
              <a:defRPr sz="2462"/>
            </a:lvl7pPr>
            <a:lvl8pPr>
              <a:defRPr sz="2462"/>
            </a:lvl8pPr>
            <a:lvl9pPr>
              <a:defRPr sz="2462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609600" y="1435101"/>
            <a:ext cx="4011247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23"/>
            </a:lvl1pPr>
            <a:lvl2pPr marL="562722" indent="0">
              <a:buNone/>
              <a:defRPr sz="1477"/>
            </a:lvl2pPr>
            <a:lvl3pPr marL="1125444" indent="0">
              <a:buNone/>
              <a:defRPr sz="1231"/>
            </a:lvl3pPr>
            <a:lvl4pPr marL="1688165" indent="0">
              <a:buNone/>
              <a:defRPr sz="1108"/>
            </a:lvl4pPr>
            <a:lvl5pPr marL="2250887" indent="0">
              <a:buNone/>
              <a:defRPr sz="1108"/>
            </a:lvl5pPr>
            <a:lvl6pPr marL="2813609" indent="0">
              <a:buNone/>
              <a:defRPr sz="1108"/>
            </a:lvl6pPr>
            <a:lvl7pPr marL="3376331" indent="0">
              <a:buNone/>
              <a:defRPr sz="1108"/>
            </a:lvl7pPr>
            <a:lvl8pPr marL="3939052" indent="0">
              <a:buNone/>
              <a:defRPr sz="1108"/>
            </a:lvl8pPr>
            <a:lvl9pPr marL="4501774" indent="0">
              <a:buNone/>
              <a:defRPr sz="1108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87C36C-3CCD-4277-A365-9BEFAAC9AFDD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1498110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389554" y="4800600"/>
            <a:ext cx="7315200" cy="566738"/>
          </a:xfrm>
        </p:spPr>
        <p:txBody>
          <a:bodyPr anchor="b"/>
          <a:lstStyle>
            <a:lvl1pPr algn="l">
              <a:defRPr sz="2462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2389554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39"/>
            </a:lvl1pPr>
            <a:lvl2pPr marL="562722" indent="0">
              <a:buNone/>
              <a:defRPr sz="3446"/>
            </a:lvl2pPr>
            <a:lvl3pPr marL="1125444" indent="0">
              <a:buNone/>
              <a:defRPr sz="2954"/>
            </a:lvl3pPr>
            <a:lvl4pPr marL="1688165" indent="0">
              <a:buNone/>
              <a:defRPr sz="2462"/>
            </a:lvl4pPr>
            <a:lvl5pPr marL="2250887" indent="0">
              <a:buNone/>
              <a:defRPr sz="2462"/>
            </a:lvl5pPr>
            <a:lvl6pPr marL="2813609" indent="0">
              <a:buNone/>
              <a:defRPr sz="2462"/>
            </a:lvl6pPr>
            <a:lvl7pPr marL="3376331" indent="0">
              <a:buNone/>
              <a:defRPr sz="2462"/>
            </a:lvl7pPr>
            <a:lvl8pPr marL="3939052" indent="0">
              <a:buNone/>
              <a:defRPr sz="2462"/>
            </a:lvl8pPr>
            <a:lvl9pPr marL="4501774" indent="0">
              <a:buNone/>
              <a:defRPr sz="2462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2389554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23"/>
            </a:lvl1pPr>
            <a:lvl2pPr marL="562722" indent="0">
              <a:buNone/>
              <a:defRPr sz="1477"/>
            </a:lvl2pPr>
            <a:lvl3pPr marL="1125444" indent="0">
              <a:buNone/>
              <a:defRPr sz="1231"/>
            </a:lvl3pPr>
            <a:lvl4pPr marL="1688165" indent="0">
              <a:buNone/>
              <a:defRPr sz="1108"/>
            </a:lvl4pPr>
            <a:lvl5pPr marL="2250887" indent="0">
              <a:buNone/>
              <a:defRPr sz="1108"/>
            </a:lvl5pPr>
            <a:lvl6pPr marL="2813609" indent="0">
              <a:buNone/>
              <a:defRPr sz="1108"/>
            </a:lvl6pPr>
            <a:lvl7pPr marL="3376331" indent="0">
              <a:buNone/>
              <a:defRPr sz="1108"/>
            </a:lvl7pPr>
            <a:lvl8pPr marL="3939052" indent="0">
              <a:buNone/>
              <a:defRPr sz="1108"/>
            </a:lvl8pPr>
            <a:lvl9pPr marL="4501774" indent="0">
              <a:buNone/>
              <a:defRPr sz="1108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8A44CB-1BEC-43BB-9219-E16F9F1E3E4C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9513496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4"/>
            <p:custDataLst>
              <p:tags r:id="rId14"/>
            </p:custDataLst>
          </p:nvPr>
        </p:nvSpPr>
        <p:spPr bwMode="auto">
          <a:xfrm>
            <a:off x="5636847" y="6542088"/>
            <a:ext cx="974969" cy="379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latinLnBrk="1" hangingPunct="1">
              <a:defRPr sz="1477" b="1">
                <a:solidFill>
                  <a:srgbClr val="00B0F0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</a:lstStyle>
          <a:p>
            <a:pPr>
              <a:defRPr/>
            </a:pPr>
            <a:fld id="{DA48784F-EA94-42B7-A177-3C65222496B5}" type="slidenum">
              <a:rPr lang="en-US" altLang="ko-KR" smtClean="0"/>
              <a:pPr>
                <a:defRPr/>
              </a:pPr>
              <a:t>‹#›</a:t>
            </a:fld>
            <a:endParaRPr lang="en-US" altLang="ko-KR" dirty="0"/>
          </a:p>
        </p:txBody>
      </p:sp>
      <p:graphicFrame>
        <p:nvGraphicFramePr>
          <p:cNvPr id="1030" name="Rectangle 13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7" imgW="0" imgH="0" progId="">
                  <p:embed/>
                </p:oleObj>
              </mc:Choice>
              <mc:Fallback>
                <p:oleObj r:id="rId17" imgW="0" imgH="0" progId="">
                  <p:embed/>
                  <p:pic>
                    <p:nvPicPr>
                      <p:cNvPr id="0" name="Rectangle 13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/>
          <p:cNvSpPr>
            <a:spLocks noGrp="1" noChangeArrowheads="1"/>
          </p:cNvSpPr>
          <p:nvPr userDrawn="1">
            <p:ph type="title"/>
            <p:custDataLst>
              <p:tags r:id="rId16"/>
            </p:custDataLst>
          </p:nvPr>
        </p:nvSpPr>
        <p:spPr bwMode="auto">
          <a:xfrm>
            <a:off x="1913047" y="146129"/>
            <a:ext cx="10264424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dirty="0"/>
              <a:t>마스터 제목 스타일 편집</a:t>
            </a:r>
          </a:p>
        </p:txBody>
      </p:sp>
      <p:pic>
        <p:nvPicPr>
          <p:cNvPr id="8" name="Picture 7" descr="../logo.png"/>
          <p:cNvPicPr/>
          <p:nvPr userDrawn="1"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57" b="12255"/>
          <a:stretch/>
        </p:blipFill>
        <p:spPr bwMode="auto">
          <a:xfrm>
            <a:off x="7193" y="0"/>
            <a:ext cx="1876339" cy="72405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</p:sldLayoutIdLst>
  <p:hf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lang="ko-KR" altLang="en-US" sz="3200" b="1" kern="1200" dirty="0" smtClean="0">
          <a:solidFill>
            <a:schemeClr val="tx1"/>
          </a:solidFill>
          <a:latin typeface="Arial" panose="020B0604020202020204" pitchFamily="34" charset="0"/>
          <a:ea typeface="맑은 고딕" panose="020B0503020000020004" pitchFamily="50" charset="-127"/>
          <a:cs typeface="Arial" panose="020B0604020202020204" pitchFamily="34" charset="0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5416">
          <a:solidFill>
            <a:srgbClr val="003668"/>
          </a:solidFill>
          <a:latin typeface="HY견고딕" pitchFamily="18" charset="-127"/>
          <a:ea typeface="HY견고딕" pitchFamily="18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5416">
          <a:solidFill>
            <a:srgbClr val="003668"/>
          </a:solidFill>
          <a:latin typeface="HY견고딕" pitchFamily="18" charset="-127"/>
          <a:ea typeface="HY견고딕" pitchFamily="18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5416">
          <a:solidFill>
            <a:srgbClr val="003668"/>
          </a:solidFill>
          <a:latin typeface="HY견고딕" pitchFamily="18" charset="-127"/>
          <a:ea typeface="HY견고딕" pitchFamily="18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5416">
          <a:solidFill>
            <a:srgbClr val="003668"/>
          </a:solidFill>
          <a:latin typeface="HY견고딕" pitchFamily="18" charset="-127"/>
          <a:ea typeface="HY견고딕" pitchFamily="18" charset="-127"/>
        </a:defRPr>
      </a:lvl5pPr>
      <a:lvl6pPr marL="562722" algn="l" rtl="0" fontAlgn="base" latinLnBrk="1">
        <a:spcBef>
          <a:spcPct val="0"/>
        </a:spcBef>
        <a:spcAft>
          <a:spcPct val="0"/>
        </a:spcAft>
        <a:defRPr kumimoji="1">
          <a:solidFill>
            <a:srgbClr val="003668"/>
          </a:solidFill>
          <a:latin typeface="HY견고딕" pitchFamily="18" charset="-127"/>
          <a:ea typeface="HY견고딕" pitchFamily="18" charset="-127"/>
        </a:defRPr>
      </a:lvl6pPr>
      <a:lvl7pPr marL="1125444" algn="l" rtl="0" fontAlgn="base" latinLnBrk="1">
        <a:spcBef>
          <a:spcPct val="0"/>
        </a:spcBef>
        <a:spcAft>
          <a:spcPct val="0"/>
        </a:spcAft>
        <a:defRPr kumimoji="1">
          <a:solidFill>
            <a:srgbClr val="003668"/>
          </a:solidFill>
          <a:latin typeface="HY견고딕" pitchFamily="18" charset="-127"/>
          <a:ea typeface="HY견고딕" pitchFamily="18" charset="-127"/>
        </a:defRPr>
      </a:lvl7pPr>
      <a:lvl8pPr marL="1688165" algn="l" rtl="0" fontAlgn="base" latinLnBrk="1">
        <a:spcBef>
          <a:spcPct val="0"/>
        </a:spcBef>
        <a:spcAft>
          <a:spcPct val="0"/>
        </a:spcAft>
        <a:defRPr kumimoji="1">
          <a:solidFill>
            <a:srgbClr val="003668"/>
          </a:solidFill>
          <a:latin typeface="HY견고딕" pitchFamily="18" charset="-127"/>
          <a:ea typeface="HY견고딕" pitchFamily="18" charset="-127"/>
        </a:defRPr>
      </a:lvl8pPr>
      <a:lvl9pPr marL="2250887" algn="l" rtl="0" fontAlgn="base" latinLnBrk="1">
        <a:spcBef>
          <a:spcPct val="0"/>
        </a:spcBef>
        <a:spcAft>
          <a:spcPct val="0"/>
        </a:spcAft>
        <a:defRPr kumimoji="1">
          <a:solidFill>
            <a:srgbClr val="003668"/>
          </a:solidFill>
          <a:latin typeface="HY견고딕" pitchFamily="18" charset="-127"/>
          <a:ea typeface="HY견고딕" pitchFamily="18" charset="-127"/>
        </a:defRPr>
      </a:lvl9pPr>
    </p:titleStyle>
    <p:bodyStyle>
      <a:lvl1pPr marL="422041" indent="-422041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939">
          <a:solidFill>
            <a:schemeClr val="tx1"/>
          </a:solidFill>
          <a:latin typeface="+mn-lt"/>
          <a:ea typeface="+mn-ea"/>
          <a:cs typeface="+mn-cs"/>
        </a:defRPr>
      </a:lvl1pPr>
      <a:lvl2pPr marL="914423" indent="-351701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3446">
          <a:solidFill>
            <a:schemeClr val="tx1"/>
          </a:solidFill>
          <a:latin typeface="+mn-lt"/>
          <a:ea typeface="+mn-ea"/>
        </a:defRPr>
      </a:lvl2pPr>
      <a:lvl3pPr marL="1406804" indent="-281361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954">
          <a:solidFill>
            <a:schemeClr val="tx1"/>
          </a:solidFill>
          <a:latin typeface="+mn-lt"/>
          <a:ea typeface="+mn-ea"/>
        </a:defRPr>
      </a:lvl3pPr>
      <a:lvl4pPr marL="1969526" indent="-281361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462">
          <a:solidFill>
            <a:schemeClr val="tx1"/>
          </a:solidFill>
          <a:latin typeface="+mn-lt"/>
          <a:ea typeface="+mn-ea"/>
        </a:defRPr>
      </a:lvl4pPr>
      <a:lvl5pPr marL="2532248" indent="-281361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462">
          <a:solidFill>
            <a:schemeClr val="tx1"/>
          </a:solidFill>
          <a:latin typeface="+mn-lt"/>
          <a:ea typeface="+mn-ea"/>
        </a:defRPr>
      </a:lvl5pPr>
      <a:lvl6pPr marL="3094970" indent="-281361" algn="l" rtl="0" fontAlgn="base" latinLnBrk="1">
        <a:spcBef>
          <a:spcPct val="20000"/>
        </a:spcBef>
        <a:spcAft>
          <a:spcPct val="0"/>
        </a:spcAft>
        <a:buChar char="»"/>
        <a:defRPr kumimoji="1" sz="2462">
          <a:solidFill>
            <a:schemeClr val="tx1"/>
          </a:solidFill>
          <a:latin typeface="+mn-lt"/>
          <a:ea typeface="+mn-ea"/>
        </a:defRPr>
      </a:lvl6pPr>
      <a:lvl7pPr marL="3657691" indent="-281361" algn="l" rtl="0" fontAlgn="base" latinLnBrk="1">
        <a:spcBef>
          <a:spcPct val="20000"/>
        </a:spcBef>
        <a:spcAft>
          <a:spcPct val="0"/>
        </a:spcAft>
        <a:buChar char="»"/>
        <a:defRPr kumimoji="1" sz="2462">
          <a:solidFill>
            <a:schemeClr val="tx1"/>
          </a:solidFill>
          <a:latin typeface="+mn-lt"/>
          <a:ea typeface="+mn-ea"/>
        </a:defRPr>
      </a:lvl7pPr>
      <a:lvl8pPr marL="4220413" indent="-281361" algn="l" rtl="0" fontAlgn="base" latinLnBrk="1">
        <a:spcBef>
          <a:spcPct val="20000"/>
        </a:spcBef>
        <a:spcAft>
          <a:spcPct val="0"/>
        </a:spcAft>
        <a:buChar char="»"/>
        <a:defRPr kumimoji="1" sz="2462">
          <a:solidFill>
            <a:schemeClr val="tx1"/>
          </a:solidFill>
          <a:latin typeface="+mn-lt"/>
          <a:ea typeface="+mn-ea"/>
        </a:defRPr>
      </a:lvl8pPr>
      <a:lvl9pPr marL="4783135" indent="-281361" algn="l" rtl="0" fontAlgn="base" latinLnBrk="1">
        <a:spcBef>
          <a:spcPct val="20000"/>
        </a:spcBef>
        <a:spcAft>
          <a:spcPct val="0"/>
        </a:spcAft>
        <a:buChar char="»"/>
        <a:defRPr kumimoji="1" sz="2462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24"/>
          <p:cNvSpPr>
            <a:spLocks noChangeArrowheads="1"/>
          </p:cNvSpPr>
          <p:nvPr/>
        </p:nvSpPr>
        <p:spPr bwMode="auto">
          <a:xfrm>
            <a:off x="5984117" y="3127146"/>
            <a:ext cx="223766" cy="381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0769" tIns="57600" rIns="110769" bIns="57600" anchor="ctr">
            <a:spAutoFit/>
          </a:bodyPr>
          <a:lstStyle>
            <a:lvl1pPr eaLnBrk="0" hangingPunct="0">
              <a:defRPr kumimoji="1" sz="1400">
                <a:solidFill>
                  <a:srgbClr val="2B3749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defRPr kumimoji="1" sz="1400">
                <a:solidFill>
                  <a:srgbClr val="2B3749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defRPr kumimoji="1" sz="1400">
                <a:solidFill>
                  <a:srgbClr val="2B3749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defRPr kumimoji="1" sz="1400">
                <a:solidFill>
                  <a:srgbClr val="2B3749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defRPr kumimoji="1" sz="1400">
                <a:solidFill>
                  <a:srgbClr val="2B3749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rgbClr val="2B3749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rgbClr val="2B3749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rgbClr val="2B3749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rgbClr val="2B3749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kumimoji="0" lang="ko-KR" altLang="en-US" sz="1723" b="1">
              <a:solidFill>
                <a:schemeClr val="tx1"/>
              </a:solidFill>
              <a:latin typeface="Arial" charset="0"/>
              <a:ea typeface="가는각진제목체" pitchFamily="18" charset="-127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1969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1969">
          <a:solidFill>
            <a:schemeClr val="tx1"/>
          </a:solidFill>
          <a:latin typeface="굴림" pitchFamily="50" charset="-127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1969">
          <a:solidFill>
            <a:schemeClr val="tx1"/>
          </a:solidFill>
          <a:latin typeface="굴림" pitchFamily="50" charset="-127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1969">
          <a:solidFill>
            <a:schemeClr val="tx1"/>
          </a:solidFill>
          <a:latin typeface="굴림" pitchFamily="50" charset="-127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1969">
          <a:solidFill>
            <a:schemeClr val="tx1"/>
          </a:solidFill>
          <a:latin typeface="굴림" pitchFamily="50" charset="-127"/>
          <a:ea typeface="굴림" pitchFamily="50" charset="-127"/>
        </a:defRPr>
      </a:lvl5pPr>
      <a:lvl6pPr marL="562722" algn="l" rtl="0" fontAlgn="base" latinLnBrk="1">
        <a:spcBef>
          <a:spcPct val="0"/>
        </a:spcBef>
        <a:spcAft>
          <a:spcPct val="0"/>
        </a:spcAft>
        <a:defRPr kumimoji="1" sz="1969">
          <a:solidFill>
            <a:schemeClr val="tx1"/>
          </a:solidFill>
          <a:latin typeface="굴림" pitchFamily="50" charset="-127"/>
          <a:ea typeface="굴림" pitchFamily="50" charset="-127"/>
        </a:defRPr>
      </a:lvl6pPr>
      <a:lvl7pPr marL="1125444" algn="l" rtl="0" fontAlgn="base" latinLnBrk="1">
        <a:spcBef>
          <a:spcPct val="0"/>
        </a:spcBef>
        <a:spcAft>
          <a:spcPct val="0"/>
        </a:spcAft>
        <a:defRPr kumimoji="1" sz="1969">
          <a:solidFill>
            <a:schemeClr val="tx1"/>
          </a:solidFill>
          <a:latin typeface="굴림" pitchFamily="50" charset="-127"/>
          <a:ea typeface="굴림" pitchFamily="50" charset="-127"/>
        </a:defRPr>
      </a:lvl7pPr>
      <a:lvl8pPr marL="1688165" algn="l" rtl="0" fontAlgn="base" latinLnBrk="1">
        <a:spcBef>
          <a:spcPct val="0"/>
        </a:spcBef>
        <a:spcAft>
          <a:spcPct val="0"/>
        </a:spcAft>
        <a:defRPr kumimoji="1" sz="1969">
          <a:solidFill>
            <a:schemeClr val="tx1"/>
          </a:solidFill>
          <a:latin typeface="굴림" pitchFamily="50" charset="-127"/>
          <a:ea typeface="굴림" pitchFamily="50" charset="-127"/>
        </a:defRPr>
      </a:lvl8pPr>
      <a:lvl9pPr marL="2250887" algn="l" rtl="0" fontAlgn="base" latinLnBrk="1">
        <a:spcBef>
          <a:spcPct val="0"/>
        </a:spcBef>
        <a:spcAft>
          <a:spcPct val="0"/>
        </a:spcAft>
        <a:defRPr kumimoji="1" sz="1969">
          <a:solidFill>
            <a:schemeClr val="tx1"/>
          </a:solidFill>
          <a:latin typeface="굴림" pitchFamily="50" charset="-127"/>
          <a:ea typeface="굴림" pitchFamily="50" charset="-127"/>
        </a:defRPr>
      </a:lvl9pPr>
    </p:titleStyle>
    <p:bodyStyle>
      <a:lvl1pPr marL="422041" indent="-422041" algn="l" defTabSz="1107859" rtl="0" eaLnBrk="0" fontAlgn="base" latinLnBrk="1" hangingPunct="0">
        <a:spcBef>
          <a:spcPts val="1846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•"/>
        <a:defRPr kumimoji="1" sz="1723">
          <a:solidFill>
            <a:schemeClr val="tx1"/>
          </a:solidFill>
          <a:latin typeface="+mn-lt"/>
          <a:ea typeface="+mn-ea"/>
          <a:cs typeface="+mn-cs"/>
        </a:defRPr>
      </a:lvl1pPr>
      <a:lvl2pPr marL="349748" indent="-347793" algn="l" defTabSz="1107859" rtl="0" eaLnBrk="0" fontAlgn="base" latinLnBrk="1" hangingPunct="0">
        <a:spcBef>
          <a:spcPts val="1231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n"/>
        <a:defRPr kumimoji="1" sz="1723">
          <a:solidFill>
            <a:schemeClr val="tx1"/>
          </a:solidFill>
          <a:latin typeface="+mn-lt"/>
          <a:ea typeface="+mn-ea"/>
        </a:defRPr>
      </a:lvl2pPr>
      <a:lvl3pPr marL="668232" indent="-316531" algn="l" defTabSz="1107859" rtl="0" eaLnBrk="0" fontAlgn="base" latinLnBrk="1" hangingPunct="0">
        <a:spcBef>
          <a:spcPts val="615"/>
        </a:spcBef>
        <a:spcAft>
          <a:spcPct val="0"/>
        </a:spcAft>
        <a:buClr>
          <a:schemeClr val="tx1"/>
        </a:buClr>
        <a:buFont typeface="맑은 고딕" panose="020B0503020000020004" pitchFamily="50" charset="-127"/>
        <a:buChar char="–"/>
        <a:defRPr kumimoji="1" sz="1723">
          <a:solidFill>
            <a:schemeClr val="tx1"/>
          </a:solidFill>
          <a:latin typeface="+mn-lt"/>
          <a:ea typeface="+mn-ea"/>
        </a:defRPr>
      </a:lvl3pPr>
      <a:lvl4pPr marL="1002349" indent="-332162" algn="l" defTabSz="1107859" rtl="0" eaLnBrk="0" fontAlgn="base" latinLnBrk="1" hangingPunct="0">
        <a:spcBef>
          <a:spcPts val="615"/>
        </a:spcBef>
        <a:spcAft>
          <a:spcPct val="0"/>
        </a:spcAft>
        <a:buClr>
          <a:schemeClr val="tx1"/>
        </a:buClr>
        <a:buFont typeface="맑은 고딕" panose="020B0503020000020004" pitchFamily="50" charset="-127"/>
        <a:buChar char="–"/>
        <a:defRPr kumimoji="1" sz="1723">
          <a:solidFill>
            <a:schemeClr val="tx1"/>
          </a:solidFill>
          <a:latin typeface="+mn-lt"/>
          <a:ea typeface="+mn-ea"/>
        </a:defRPr>
      </a:lvl4pPr>
      <a:lvl5pPr marL="1359911" indent="-355609" algn="l" defTabSz="1107859" rtl="0" eaLnBrk="0" fontAlgn="base" latinLnBrk="1" hangingPunct="0">
        <a:spcBef>
          <a:spcPts val="615"/>
        </a:spcBef>
        <a:spcAft>
          <a:spcPct val="0"/>
        </a:spcAft>
        <a:buClr>
          <a:schemeClr val="tx1"/>
        </a:buClr>
        <a:buFont typeface="맑은 고딕" panose="020B0503020000020004" pitchFamily="50" charset="-127"/>
        <a:buChar char="»"/>
        <a:defRPr kumimoji="1" sz="1723">
          <a:solidFill>
            <a:schemeClr val="tx1"/>
          </a:solidFill>
          <a:latin typeface="+mn-lt"/>
          <a:ea typeface="+mn-ea"/>
        </a:defRPr>
      </a:lvl5pPr>
      <a:lvl6pPr marL="1922633" indent="-355609" algn="l" defTabSz="1107859" rtl="0" fontAlgn="base" latinLnBrk="1">
        <a:spcBef>
          <a:spcPts val="615"/>
        </a:spcBef>
        <a:spcAft>
          <a:spcPct val="0"/>
        </a:spcAft>
        <a:buClr>
          <a:schemeClr val="tx1"/>
        </a:buClr>
        <a:buFont typeface="맑은 고딕" pitchFamily="50" charset="-127"/>
        <a:buChar char="»"/>
        <a:defRPr kumimoji="1" sz="1723">
          <a:solidFill>
            <a:schemeClr val="tx1"/>
          </a:solidFill>
          <a:latin typeface="+mn-lt"/>
          <a:ea typeface="+mn-ea"/>
        </a:defRPr>
      </a:lvl6pPr>
      <a:lvl7pPr marL="2485354" indent="-355609" algn="l" defTabSz="1107859" rtl="0" fontAlgn="base" latinLnBrk="1">
        <a:spcBef>
          <a:spcPts val="615"/>
        </a:spcBef>
        <a:spcAft>
          <a:spcPct val="0"/>
        </a:spcAft>
        <a:buClr>
          <a:schemeClr val="tx1"/>
        </a:buClr>
        <a:buFont typeface="맑은 고딕" pitchFamily="50" charset="-127"/>
        <a:buChar char="»"/>
        <a:defRPr kumimoji="1" sz="1723">
          <a:solidFill>
            <a:schemeClr val="tx1"/>
          </a:solidFill>
          <a:latin typeface="+mn-lt"/>
          <a:ea typeface="+mn-ea"/>
        </a:defRPr>
      </a:lvl7pPr>
      <a:lvl8pPr marL="3048076" indent="-355609" algn="l" defTabSz="1107859" rtl="0" fontAlgn="base" latinLnBrk="1">
        <a:spcBef>
          <a:spcPts val="615"/>
        </a:spcBef>
        <a:spcAft>
          <a:spcPct val="0"/>
        </a:spcAft>
        <a:buClr>
          <a:schemeClr val="tx1"/>
        </a:buClr>
        <a:buFont typeface="맑은 고딕" pitchFamily="50" charset="-127"/>
        <a:buChar char="»"/>
        <a:defRPr kumimoji="1" sz="1723">
          <a:solidFill>
            <a:schemeClr val="tx1"/>
          </a:solidFill>
          <a:latin typeface="+mn-lt"/>
          <a:ea typeface="+mn-ea"/>
        </a:defRPr>
      </a:lvl8pPr>
      <a:lvl9pPr marL="3610798" indent="-355609" algn="l" defTabSz="1107859" rtl="0" fontAlgn="base" latinLnBrk="1">
        <a:spcBef>
          <a:spcPts val="615"/>
        </a:spcBef>
        <a:spcAft>
          <a:spcPct val="0"/>
        </a:spcAft>
        <a:buClr>
          <a:schemeClr val="tx1"/>
        </a:buClr>
        <a:buFont typeface="맑은 고딕" pitchFamily="50" charset="-127"/>
        <a:buChar char="»"/>
        <a:defRPr kumimoji="1" sz="1723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5" Type="http://schemas.openxmlformats.org/officeDocument/2006/relationships/image" Target="../media/image16.png"/><Relationship Id="rId4" Type="http://schemas.openxmlformats.org/officeDocument/2006/relationships/image" Target="NUL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3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5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6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NULL"/><Relationship Id="rId4" Type="http://schemas.openxmlformats.org/officeDocument/2006/relationships/image" Target="../media/image2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70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0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NULL"/><Relationship Id="rId7" Type="http://schemas.openxmlformats.org/officeDocument/2006/relationships/image" Target="NUL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w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8"/>
          <p:cNvSpPr>
            <a:spLocks noChangeArrowheads="1"/>
          </p:cNvSpPr>
          <p:nvPr/>
        </p:nvSpPr>
        <p:spPr bwMode="auto">
          <a:xfrm>
            <a:off x="3174014" y="3140968"/>
            <a:ext cx="5843972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algn="ctr" eaLnBrk="1" latinLnBrk="1" hangingPunct="1"/>
            <a:r>
              <a:rPr lang="en-US" altLang="ko-KR" sz="2400" b="1" u="sng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ndled by</a:t>
            </a:r>
          </a:p>
          <a:p>
            <a:pPr algn="ctr" eaLnBrk="1" latinLnBrk="1" hangingPunct="1"/>
            <a:r>
              <a:rPr lang="en-US" altLang="ko-KR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. Murali, Ph.D., </a:t>
            </a:r>
          </a:p>
          <a:p>
            <a:pPr algn="ctr" eaLnBrk="1" latinLnBrk="1" hangingPunct="1"/>
            <a:r>
              <a:rPr lang="en-US" altLang="ko-KR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ociate Professor,</a:t>
            </a:r>
          </a:p>
          <a:p>
            <a:pPr algn="ctr" eaLnBrk="1" latinLnBrk="1" hangingPunct="1"/>
            <a:r>
              <a:rPr lang="en-US" altLang="ko-KR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rtment of Mechanical Engineering, SRM IST, Kattankulathur. </a:t>
            </a:r>
          </a:p>
        </p:txBody>
      </p:sp>
      <p:sp>
        <p:nvSpPr>
          <p:cNvPr id="8" name="Rectangle 108"/>
          <p:cNvSpPr>
            <a:spLocks noChangeArrowheads="1"/>
          </p:cNvSpPr>
          <p:nvPr/>
        </p:nvSpPr>
        <p:spPr bwMode="auto">
          <a:xfrm>
            <a:off x="1352473" y="1736114"/>
            <a:ext cx="9487054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algn="ctr" eaLnBrk="1" latinLnBrk="1" hangingPunct="1"/>
            <a:r>
              <a:rPr lang="en-US" altLang="ko-KR" sz="2000" b="1" u="sng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ject Code</a:t>
            </a:r>
          </a:p>
          <a:p>
            <a:pPr algn="ctr" eaLnBrk="1" latinLnBrk="1" hangingPunct="1"/>
            <a:r>
              <a:rPr lang="en-US" altLang="ko-KR" sz="3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MEO113T - Design of Experiments</a:t>
            </a:r>
            <a:endParaRPr lang="en-US" altLang="ko-KR" sz="20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2" y="0"/>
            <a:ext cx="3530736" cy="1474446"/>
          </a:xfrm>
          <a:prstGeom prst="rect">
            <a:avLst/>
          </a:prstGeom>
        </p:spPr>
      </p:pic>
      <p:sp>
        <p:nvSpPr>
          <p:cNvPr id="9" name="Rectangle 108">
            <a:extLst>
              <a:ext uri="{FF2B5EF4-FFF2-40B4-BE49-F238E27FC236}">
                <a16:creationId xmlns:a16="http://schemas.microsoft.com/office/drawing/2014/main" id="{845536B5-86B2-4C99-92FD-2675FEF59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336" y="5553236"/>
            <a:ext cx="12072664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rgbClr val="2B374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algn="ctr" eaLnBrk="1" latinLnBrk="1" hangingPunct="1"/>
            <a:r>
              <a:rPr lang="en-US" altLang="ko-KR" sz="2000" b="1" u="sng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laimer </a:t>
            </a:r>
          </a:p>
          <a:p>
            <a:pPr algn="ctr" eaLnBrk="1" latinLnBrk="1" hangingPunct="1"/>
            <a:r>
              <a:rPr lang="en-US" altLang="ko-KR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ontent prepared in the presentation are from various sources, only used for education purpose. Thanks to all the sources. </a:t>
            </a:r>
          </a:p>
          <a:p>
            <a:pPr algn="ctr" eaLnBrk="1" latinLnBrk="1" hangingPunct="1"/>
            <a:endParaRPr lang="en-US" altLang="ko-KR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2706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415"/>
    </mc:Choice>
    <mc:Fallback xmlns="">
      <p:transition spd="slow" advTm="26415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Background of response surface design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 latinLnBrk="0">
              <a:lnSpc>
                <a:spcPct val="150000"/>
              </a:lnSpc>
            </a:pPr>
            <a:r>
              <a:rPr lang="en-US" sz="20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difference between a response surface equation and the equation for a factorial design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s the addition of the squared (or quadratic) terms that lets you model curvature in the response, making them useful for:</a:t>
            </a:r>
          </a:p>
          <a:p>
            <a:pPr lvl="1" algn="just" latinLnBrk="0">
              <a:lnSpc>
                <a:spcPct val="150000"/>
              </a:lnSpc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Understanding or mapping a region of a response surface. Response surface equations model how changes in variables affect a response of interest.</a:t>
            </a:r>
          </a:p>
          <a:p>
            <a:pPr lvl="1" algn="just" latinLnBrk="0">
              <a:lnSpc>
                <a:spcPct val="150000"/>
              </a:lnSpc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Finding the levels of variables that optimize a response.</a:t>
            </a:r>
          </a:p>
          <a:p>
            <a:pPr lvl="1" algn="just" latinLnBrk="0">
              <a:lnSpc>
                <a:spcPct val="150000"/>
              </a:lnSpc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electing the operating conditions to meet specifications.</a:t>
            </a:r>
          </a:p>
          <a:p>
            <a:pPr algn="just" latinLnBrk="0">
              <a:lnSpc>
                <a:spcPct val="150000"/>
              </a:lnSpc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For example, you would like to determine the best conditions for injection-molding a plastic part. You first used a screening or factorial experiment to determine the significant factors (temperature, pressure, cooling rate). You can use a response surface designed experiment to determine the optimal settings for each factor.</a:t>
            </a:r>
            <a:endParaRPr lang="en-IN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21382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Background of response surface design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 latinLnBrk="0">
              <a:lnSpc>
                <a:spcPct val="150000"/>
              </a:lnSpc>
            </a:pPr>
            <a:r>
              <a:rPr lang="en-US" sz="20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difference between a response surface equation and the equation for a factorial design 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latinLnBrk="0">
              <a:lnSpc>
                <a:spcPct val="150000"/>
              </a:lnSpc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 two-level factorial (or fractional factorial) design looks for linear trends, possibly with interactions </a:t>
            </a:r>
          </a:p>
          <a:p>
            <a:pPr lvl="1" algn="just" latinLnBrk="0">
              <a:lnSpc>
                <a:spcPct val="150000"/>
              </a:lnSpc>
            </a:pPr>
            <a:r>
              <a:rPr lang="en-US" sz="1507" dirty="0">
                <a:latin typeface="Arial" panose="020B0604020202020204" pitchFamily="34" charset="0"/>
                <a:cs typeface="Arial" panose="020B0604020202020204" pitchFamily="34" charset="0"/>
              </a:rPr>
              <a:t>Does the variable significantly impact the response? In what direction?</a:t>
            </a:r>
          </a:p>
          <a:p>
            <a:pPr lvl="1" algn="just" latinLnBrk="0">
              <a:lnSpc>
                <a:spcPct val="150000"/>
              </a:lnSpc>
            </a:pPr>
            <a:r>
              <a:rPr lang="en-US" sz="1507" dirty="0">
                <a:latin typeface="Arial" panose="020B0604020202020204" pitchFamily="34" charset="0"/>
                <a:cs typeface="Arial" panose="020B0604020202020204" pitchFamily="34" charset="0"/>
              </a:rPr>
              <a:t>It helps to define the next experiment.</a:t>
            </a:r>
          </a:p>
          <a:p>
            <a:pPr algn="just" latinLnBrk="0">
              <a:lnSpc>
                <a:spcPct val="150000"/>
              </a:lnSpc>
            </a:pPr>
            <a:r>
              <a:rPr lang="en-US" sz="20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e Surface Methodology (RSM)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looks for quadratic or higher order trends</a:t>
            </a:r>
          </a:p>
          <a:p>
            <a:pPr lvl="1" algn="just" latinLnBrk="0">
              <a:lnSpc>
                <a:spcPct val="150000"/>
              </a:lnSpc>
            </a:pPr>
            <a:r>
              <a:rPr lang="en-US" sz="1507" dirty="0">
                <a:latin typeface="Arial" panose="020B0604020202020204" pitchFamily="34" charset="0"/>
                <a:cs typeface="Arial" panose="020B0604020202020204" pitchFamily="34" charset="0"/>
              </a:rPr>
              <a:t>Assumes all variable are significant</a:t>
            </a:r>
          </a:p>
          <a:p>
            <a:pPr lvl="1" algn="just" latinLnBrk="0">
              <a:lnSpc>
                <a:spcPct val="150000"/>
              </a:lnSpc>
            </a:pPr>
            <a:r>
              <a:rPr lang="en-US" sz="1507" dirty="0">
                <a:latin typeface="Arial" panose="020B0604020202020204" pitchFamily="34" charset="0"/>
                <a:cs typeface="Arial" panose="020B0604020202020204" pitchFamily="34" charset="0"/>
              </a:rPr>
              <a:t>A quadratic response always has a stationary point (minimum or maximum or saddle point)</a:t>
            </a:r>
          </a:p>
          <a:p>
            <a:pPr lvl="1" algn="just" latinLnBrk="0">
              <a:lnSpc>
                <a:spcPct val="150000"/>
              </a:lnSpc>
            </a:pPr>
            <a:r>
              <a:rPr lang="en-US" sz="1507" dirty="0">
                <a:latin typeface="Arial" panose="020B0604020202020204" pitchFamily="34" charset="0"/>
                <a:cs typeface="Arial" panose="020B0604020202020204" pitchFamily="34" charset="0"/>
              </a:rPr>
              <a:t>Can be used to optimize a process</a:t>
            </a:r>
            <a:endParaRPr lang="en-IN" sz="150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08902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Background of response surface design</a:t>
            </a:r>
            <a:endParaRPr lang="en-I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E3D689E-0129-D6E9-C3A7-260BA20D0B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9616" y="1072244"/>
            <a:ext cx="6012668" cy="5264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540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Background of response surface design</a:t>
            </a:r>
            <a:endParaRPr lang="en-IN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9EC82A-866C-5671-16CD-3E085C1415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352" y="944724"/>
            <a:ext cx="11598702" cy="4711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8838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Background of response surface design</a:t>
            </a:r>
            <a:endParaRPr lang="en-IN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09334C0-7E90-5B99-EF3C-9CE63B045E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380" y="980728"/>
            <a:ext cx="1050607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3038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6668" y="74044"/>
            <a:ext cx="10349524" cy="431800"/>
          </a:xfrm>
        </p:spPr>
        <p:txBody>
          <a:bodyPr/>
          <a:lstStyle/>
          <a:p>
            <a:pPr marL="0" indent="0" algn="just" eaLnBrk="1" latinLnBrk="0">
              <a:lnSpc>
                <a:spcPct val="150000"/>
              </a:lnSpc>
              <a:buNone/>
            </a:pPr>
            <a:r>
              <a:rPr lang="en-IN" dirty="0">
                <a:ea typeface="Verdana" panose="020B0604030504040204" pitchFamily="34" charset="0"/>
              </a:rPr>
              <a:t>Background of response surface design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04764"/>
            <a:ext cx="12192000" cy="4998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9244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6668" y="74044"/>
            <a:ext cx="10349524" cy="431800"/>
          </a:xfrm>
        </p:spPr>
        <p:txBody>
          <a:bodyPr/>
          <a:lstStyle/>
          <a:p>
            <a:pPr marL="0" indent="0" algn="just" eaLnBrk="1" latinLnBrk="0">
              <a:lnSpc>
                <a:spcPct val="150000"/>
              </a:lnSpc>
              <a:buNone/>
            </a:pPr>
            <a:r>
              <a:rPr lang="en-IN" dirty="0">
                <a:ea typeface="Verdana" panose="020B0604030504040204" pitchFamily="34" charset="0"/>
              </a:rPr>
              <a:t>Background of response surface desig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64" y="1264072"/>
            <a:ext cx="12192000" cy="5232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6093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6668" y="74044"/>
            <a:ext cx="10349524" cy="431800"/>
          </a:xfrm>
        </p:spPr>
        <p:txBody>
          <a:bodyPr/>
          <a:lstStyle/>
          <a:p>
            <a:pPr marL="0" indent="0" algn="just" eaLnBrk="1" latinLnBrk="0">
              <a:lnSpc>
                <a:spcPct val="150000"/>
              </a:lnSpc>
              <a:buNone/>
            </a:pPr>
            <a:r>
              <a:rPr lang="en-IN" dirty="0">
                <a:ea typeface="Verdana" panose="020B0604030504040204" pitchFamily="34" charset="0"/>
              </a:rPr>
              <a:t>Background of response surface design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308" y="1448780"/>
            <a:ext cx="12192000" cy="4904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3567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Background of response surface design</a:t>
            </a:r>
            <a:endParaRPr lang="en-IN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sz="2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Method of Steepest Ascent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92796"/>
            <a:ext cx="12192000" cy="4917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6225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xample 1 (First-order RSM)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09600" y="980729"/>
            <a:ext cx="5234372" cy="5145436"/>
          </a:xfrm>
        </p:spPr>
        <p:txBody>
          <a:bodyPr/>
          <a:lstStyle/>
          <a:p>
            <a:pPr marL="0" indent="0" algn="just" latinLnBrk="0">
              <a:buNone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 chemical engineer is interested in determining the operating conditions that maximize the yield of a process. Two controllable variables influence process yield: reaction time and reaction temperature. The engineer is currently operating the process with a reaction time of 35 minutes and a temperature of 155°F, which result in yields of around 40 percent. Because it is unlikely that this region contains the optimum, she fits a first-order model and applies the method of steepest ascent.</a:t>
            </a:r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3992" y="1238872"/>
            <a:ext cx="5791200" cy="4629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236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8F6175C-2F55-4953-8B57-639139EFA8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E8024D-BDF5-42EB-9C9A-A7677E115D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sz="5400" dirty="0"/>
              <a:t>Unit 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564328-B254-4214-BCAA-48DE6ACA7E7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D8A44CB-1BEC-43BB-9219-E16F9F1E3E4C}" type="slidenum">
              <a:rPr lang="en-US" altLang="ko-KR" smtClean="0"/>
              <a:pPr>
                <a:defRPr/>
              </a:pPr>
              <a:t>2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4285891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Example 1 (RSM First-order Model)</a:t>
            </a:r>
            <a:endParaRPr lang="en-IN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Content Placeholder 4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Response variable = Process yield = Y = 40%</a:t>
                </a:r>
              </a:p>
              <a:p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Current operating condition: </a:t>
                </a:r>
              </a:p>
              <a:p>
                <a:pPr lvl="1"/>
                <a:r>
                  <a:rPr lang="en-IN" sz="1907" dirty="0">
                    <a:latin typeface="Arial" panose="020B0604020202020204" pitchFamily="34" charset="0"/>
                    <a:cs typeface="Arial" panose="020B0604020202020204" pitchFamily="34" charset="0"/>
                  </a:rPr>
                  <a:t>Natural variabl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sz="1907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1907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(</m:t>
                        </m:r>
                        <m:r>
                          <a:rPr lang="en-IN" sz="1907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𝜀</m:t>
                        </m:r>
                      </m:e>
                      <m:sub>
                        <m:r>
                          <a:rPr lang="en-IN" sz="1907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IN" sz="1907" dirty="0">
                    <a:latin typeface="Arial" panose="020B0604020202020204" pitchFamily="34" charset="0"/>
                    <a:cs typeface="Arial" panose="020B0604020202020204" pitchFamily="34" charset="0"/>
                  </a:rPr>
                  <a:t>) = Coded variable (X1) = R</a:t>
                </a:r>
                <a:r>
                  <a:rPr lang="en-US" sz="1907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action</a:t>
                </a:r>
                <a:r>
                  <a:rPr lang="en-US" sz="1907" dirty="0">
                    <a:latin typeface="Arial" panose="020B0604020202020204" pitchFamily="34" charset="0"/>
                    <a:cs typeface="Arial" panose="020B0604020202020204" pitchFamily="34" charset="0"/>
                  </a:rPr>
                  <a:t> time of 35 minutes </a:t>
                </a:r>
              </a:p>
              <a:p>
                <a:pPr lvl="1"/>
                <a:r>
                  <a:rPr lang="en-IN" sz="1907" dirty="0">
                    <a:latin typeface="Arial" panose="020B0604020202020204" pitchFamily="34" charset="0"/>
                    <a:cs typeface="Arial" panose="020B0604020202020204" pitchFamily="34" charset="0"/>
                  </a:rPr>
                  <a:t>Natural variabl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sz="1907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1907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(</m:t>
                        </m:r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𝜀</m:t>
                        </m:r>
                      </m:e>
                      <m:sub>
                        <m:r>
                          <a:rPr lang="en-IN" sz="1907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IN" sz="1907" dirty="0">
                    <a:latin typeface="Arial" panose="020B0604020202020204" pitchFamily="34" charset="0"/>
                    <a:cs typeface="Arial" panose="020B0604020202020204" pitchFamily="34" charset="0"/>
                  </a:rPr>
                  <a:t>) = Coded variable (X2) = </a:t>
                </a:r>
                <a:r>
                  <a:rPr lang="en-US" sz="1907" dirty="0">
                    <a:latin typeface="Arial" panose="020B0604020202020204" pitchFamily="34" charset="0"/>
                    <a:cs typeface="Arial" panose="020B0604020202020204" pitchFamily="34" charset="0"/>
                  </a:rPr>
                  <a:t>Temperature of 155°F</a:t>
                </a:r>
                <a:endParaRPr lang="en-IN" sz="1907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5" name="Content Placeholder 4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3"/>
                <a:stretch>
                  <a:fillRect l="-722" t="-829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" name="Straight Arrow Connector 6"/>
          <p:cNvCxnSpPr/>
          <p:nvPr/>
        </p:nvCxnSpPr>
        <p:spPr bwMode="auto">
          <a:xfrm flipV="1">
            <a:off x="2480476" y="3501008"/>
            <a:ext cx="0" cy="2448272"/>
          </a:xfrm>
          <a:prstGeom prst="straightConnector1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 bwMode="auto">
          <a:xfrm>
            <a:off x="2480476" y="5949280"/>
            <a:ext cx="2916324" cy="0"/>
          </a:xfrm>
          <a:prstGeom prst="straightConnector1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3135444" y="4365104"/>
            <a:ext cx="1606387" cy="1044116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sz="1050" b="1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540816" y="6057292"/>
            <a:ext cx="3914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FF0000"/>
                </a:solidFill>
              </a:rPr>
              <a:t>X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89022" y="3347119"/>
            <a:ext cx="3914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FF0000"/>
                </a:solidFill>
              </a:rPr>
              <a:t>X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550112" y="5371471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00B0F0"/>
                </a:solidFill>
              </a:rPr>
              <a:t>40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80307" y="5371472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00B0F0"/>
                </a:solidFill>
              </a:rPr>
              <a:t>30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652620" y="5145603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FFD700"/>
                </a:solidFill>
              </a:rPr>
              <a:t>150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590725" y="4157409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FFD700"/>
                </a:solidFill>
              </a:rPr>
              <a:t>160</a:t>
            </a:r>
          </a:p>
        </p:txBody>
      </p:sp>
      <p:sp>
        <p:nvSpPr>
          <p:cNvPr id="18" name="TextBox 17"/>
          <p:cNvSpPr txBox="1"/>
          <p:nvPr/>
        </p:nvSpPr>
        <p:spPr>
          <a:xfrm rot="16200000">
            <a:off x="1904793" y="4463697"/>
            <a:ext cx="6231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FFD700"/>
                </a:solidFill>
              </a:rPr>
              <a:t>Temp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512590" y="6106951"/>
            <a:ext cx="5806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00B0F0"/>
                </a:solidFill>
              </a:rPr>
              <a:t>Time</a:t>
            </a:r>
          </a:p>
        </p:txBody>
      </p:sp>
      <p:sp>
        <p:nvSpPr>
          <p:cNvPr id="26" name="Oval 25"/>
          <p:cNvSpPr/>
          <p:nvPr/>
        </p:nvSpPr>
        <p:spPr>
          <a:xfrm>
            <a:off x="3902638" y="4833160"/>
            <a:ext cx="72000" cy="72000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50" b="1" dirty="0">
              <a:solidFill>
                <a:schemeClr val="tx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833504" y="4478924"/>
            <a:ext cx="8931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F462C7"/>
                </a:solidFill>
              </a:rPr>
              <a:t>(35, 155)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411924" y="2934816"/>
            <a:ext cx="585609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IN" sz="2400" baseline="30000" dirty="0">
                <a:latin typeface="Arial" panose="020B0604020202020204" pitchFamily="34" charset="0"/>
                <a:cs typeface="Arial" panose="020B0604020202020204" pitchFamily="34" charset="0"/>
              </a:rPr>
              <a:t>K</a:t>
            </a:r>
            <a:r>
              <a:rPr lang="en-IN" sz="2400" dirty="0">
                <a:latin typeface="Arial" panose="020B0604020202020204" pitchFamily="34" charset="0"/>
                <a:cs typeface="Arial" panose="020B0604020202020204" pitchFamily="34" charset="0"/>
              </a:rPr>
              <a:t> factorial design with center point</a:t>
            </a:r>
          </a:p>
          <a:p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IN" sz="2400" dirty="0">
                <a:latin typeface="Arial" panose="020B0604020202020204" pitchFamily="34" charset="0"/>
                <a:cs typeface="Arial" panose="020B0604020202020204" pitchFamily="34" charset="0"/>
              </a:rPr>
              <a:t>X1: High = 40 min (+1); Low = 30 min (-1)</a:t>
            </a:r>
          </a:p>
          <a:p>
            <a:r>
              <a:rPr lang="en-IN" sz="2400" dirty="0">
                <a:latin typeface="Arial" panose="020B0604020202020204" pitchFamily="34" charset="0"/>
                <a:cs typeface="Arial" panose="020B0604020202020204" pitchFamily="34" charset="0"/>
              </a:rPr>
              <a:t>X2: High = 160 F (+1); Low = 150 F (-1)</a:t>
            </a:r>
          </a:p>
        </p:txBody>
      </p:sp>
    </p:spTree>
    <p:extLst>
      <p:ext uri="{BB962C8B-B14F-4D97-AF65-F5344CB8AC3E}">
        <p14:creationId xmlns:p14="http://schemas.microsoft.com/office/powerpoint/2010/main" val="8236536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xample 1 (First-order RSM)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548432"/>
            <a:ext cx="11430000" cy="398145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/>
              <p:cNvSpPr txBox="1"/>
              <p:nvPr/>
            </p:nvSpPr>
            <p:spPr>
              <a:xfrm>
                <a:off x="689422" y="5335229"/>
                <a:ext cx="6926255" cy="150605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IN" sz="2000" dirty="0">
                    <a:latin typeface="Arial" panose="020B0604020202020204" pitchFamily="34" charset="0"/>
                    <a:cs typeface="Arial" panose="020B0604020202020204" pitchFamily="34" charset="0"/>
                  </a:rPr>
                  <a:t>40.44 = Average of all Y observation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sz="200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0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0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IN" sz="2000" dirty="0">
                    <a:latin typeface="Arial" panose="020B0604020202020204" pitchFamily="34" charset="0"/>
                    <a:cs typeface="Arial" panose="020B0604020202020204" pitchFamily="34" charset="0"/>
                  </a:rPr>
                  <a:t>)…</a:t>
                </a:r>
              </a:p>
              <a:p>
                <a:endParaRPr lang="en-IN" sz="1200" dirty="0"/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IN" sz="200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 </m:t>
                        </m:r>
                      </m:sub>
                    </m:sSub>
                    <m:r>
                      <a:rPr lang="en-IN" sz="20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 </m:t>
                    </m:r>
                    <m:f>
                      <m:fPr>
                        <m:ctrlPr>
                          <a:rPr lang="en-IN" sz="20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IN" sz="20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num>
                      <m:den>
                        <m:r>
                          <a:rPr lang="en-IN" sz="20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den>
                    </m:f>
                    <m:r>
                      <a:rPr lang="en-IN" sz="20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(</m:t>
                    </m:r>
                    <m:r>
                      <a:rPr lang="en-IN" sz="20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𝐸𝑓𝑓𝑒𝑐𝑡</m:t>
                    </m:r>
                    <m:r>
                      <a:rPr lang="en-IN" sz="20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  <m:r>
                      <a:rPr lang="en-IN" sz="20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𝑜𝑓</m:t>
                    </m:r>
                    <m:r>
                      <a:rPr lang="en-IN" sz="20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  <m:r>
                      <a:rPr lang="en-IN" sz="20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𝑋</m:t>
                    </m:r>
                    <m:r>
                      <a:rPr lang="en-IN" sz="20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1)</m:t>
                    </m:r>
                  </m:oMath>
                </a14:m>
                <a:r>
                  <a:rPr lang="en-IN" sz="2000" dirty="0"/>
                  <a:t> =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IN" sz="20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IN" sz="20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num>
                      <m:den>
                        <m:r>
                          <a:rPr lang="en-IN" sz="20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den>
                    </m:f>
                    <m:r>
                      <a:rPr lang="en-IN" sz="20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(</m:t>
                    </m:r>
                    <m:d>
                      <m:dPr>
                        <m:ctrlPr>
                          <a:rPr lang="en-IN" sz="20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IN" sz="20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fPr>
                          <m:num>
                            <m:r>
                              <a:rPr lang="en-IN" sz="20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40.9+41.5</m:t>
                            </m:r>
                          </m:num>
                          <m:den>
                            <m:r>
                              <a:rPr lang="en-IN" sz="20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2</m:t>
                            </m:r>
                          </m:den>
                        </m:f>
                      </m:e>
                    </m:d>
                    <m:r>
                      <a:rPr lang="en-IN" sz="20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(</m:t>
                    </m:r>
                    <m:f>
                      <m:fPr>
                        <m:ctrlPr>
                          <a:rPr lang="en-IN" sz="20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IN" sz="20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39.3+40.0</m:t>
                        </m:r>
                      </m:num>
                      <m:den>
                        <m:r>
                          <a:rPr lang="en-IN" sz="20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den>
                    </m:f>
                    <m:r>
                      <a:rPr lang="en-IN" sz="20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)</m:t>
                    </m:r>
                    <m:r>
                      <a:rPr lang="en-IN" sz="20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)</m:t>
                    </m:r>
                  </m:oMath>
                </a14:m>
                <a:r>
                  <a:rPr lang="en-IN" sz="2000" dirty="0"/>
                  <a:t> = 0.775 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IN" sz="20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  <m:r>
                          <a:rPr lang="en-IN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 </m:t>
                        </m:r>
                      </m:sub>
                    </m:sSub>
                    <m:r>
                      <a:rPr lang="en-IN" sz="20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 </m:t>
                    </m:r>
                    <m:f>
                      <m:fPr>
                        <m:ctrlPr>
                          <a:rPr lang="en-IN" sz="20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IN" sz="20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num>
                      <m:den>
                        <m:r>
                          <a:rPr lang="en-IN" sz="20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den>
                    </m:f>
                    <m:r>
                      <a:rPr lang="en-IN" sz="20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(</m:t>
                    </m:r>
                    <m:r>
                      <a:rPr lang="en-IN" sz="20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𝐸𝑓𝑓𝑒𝑐𝑡</m:t>
                    </m:r>
                    <m:r>
                      <a:rPr lang="en-IN" sz="20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  <m:r>
                      <a:rPr lang="en-IN" sz="20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𝑜𝑓</m:t>
                    </m:r>
                    <m:r>
                      <a:rPr lang="en-IN" sz="20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  <m:r>
                      <a:rPr lang="en-IN" sz="20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𝑋</m:t>
                    </m:r>
                    <m:r>
                      <a:rPr lang="en-IN" sz="20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2</m:t>
                    </m:r>
                    <m:r>
                      <a:rPr lang="en-IN" sz="20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)</m:t>
                    </m:r>
                  </m:oMath>
                </a14:m>
                <a:r>
                  <a:rPr lang="en-IN" sz="2000" dirty="0"/>
                  <a:t>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IN" sz="20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IN" sz="20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num>
                      <m:den>
                        <m:r>
                          <a:rPr lang="en-IN" sz="20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den>
                    </m:f>
                    <m:r>
                      <a:rPr lang="en-IN" sz="20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(</m:t>
                    </m:r>
                    <m:d>
                      <m:dPr>
                        <m:ctrlPr>
                          <a:rPr lang="en-IN" sz="20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IN" sz="2000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fPr>
                          <m:num>
                            <m:r>
                              <a:rPr lang="en-IN" sz="20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40</m:t>
                            </m:r>
                            <m:r>
                              <a:rPr lang="en-IN" sz="2000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+41.5</m:t>
                            </m:r>
                          </m:num>
                          <m:den>
                            <m:r>
                              <a:rPr lang="en-IN" sz="2000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2</m:t>
                            </m:r>
                          </m:den>
                        </m:f>
                      </m:e>
                    </m:d>
                    <m:r>
                      <a:rPr lang="en-IN" sz="20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(</m:t>
                    </m:r>
                    <m:f>
                      <m:fPr>
                        <m:ctrlPr>
                          <a:rPr lang="en-IN" sz="20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IN" sz="20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39.3+40.</m:t>
                        </m:r>
                        <m:r>
                          <a:rPr lang="en-IN" sz="20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9</m:t>
                        </m:r>
                      </m:num>
                      <m:den>
                        <m:r>
                          <a:rPr lang="en-IN" sz="20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den>
                    </m:f>
                    <m:r>
                      <a:rPr lang="en-IN" sz="20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))</m:t>
                    </m:r>
                  </m:oMath>
                </a14:m>
                <a:r>
                  <a:rPr lang="en-IN" sz="2000" dirty="0"/>
                  <a:t> = 0.325 </a:t>
                </a:r>
              </a:p>
            </p:txBody>
          </p:sp>
        </mc:Choice>
        <mc:Fallback xmlns="">
          <p:sp>
            <p:nvSpPr>
              <p:cNvPr id="28" name="TextBox 2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9422" y="5335229"/>
                <a:ext cx="6926255" cy="1506053"/>
              </a:xfrm>
              <a:prstGeom prst="rect">
                <a:avLst/>
              </a:prstGeom>
              <a:blipFill rotWithShape="0">
                <a:blip r:embed="rId4"/>
                <a:stretch>
                  <a:fillRect l="-880" t="-1619" b="-810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9" name="Picture 2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0150" y="4630379"/>
            <a:ext cx="1847850" cy="70485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0" name="Rectangle 29"/>
              <p:cNvSpPr/>
              <p:nvPr/>
            </p:nvSpPr>
            <p:spPr>
              <a:xfrm>
                <a:off x="4049180" y="4779938"/>
                <a:ext cx="157414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IN" dirty="0">
                    <a:cs typeface="Arial" panose="020B0604020202020204" pitchFamily="34" charset="0"/>
                  </a:rPr>
                  <a:t>Y=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IN" dirty="0"/>
                  <a:t>+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𝑋</m:t>
                        </m:r>
                      </m:e>
                      <m:sub>
                        <m:r>
                          <a:rPr lang="en-IN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IN" dirty="0"/>
                  <a:t>+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𝑋</m:t>
                        </m:r>
                      </m:e>
                      <m:sub>
                        <m:r>
                          <a:rPr lang="en-IN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</m:oMath>
                </a14:m>
                <a:endParaRPr lang="en-IN" dirty="0"/>
              </a:p>
            </p:txBody>
          </p:sp>
        </mc:Choice>
        <mc:Fallback xmlns="">
          <p:sp>
            <p:nvSpPr>
              <p:cNvPr id="30" name="Rectangle 2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49180" y="4779938"/>
                <a:ext cx="1574149" cy="307777"/>
              </a:xfrm>
              <a:prstGeom prst="rect">
                <a:avLst/>
              </a:prstGeom>
              <a:blipFill rotWithShape="0">
                <a:blip r:embed="rId6"/>
                <a:stretch>
                  <a:fillRect l="-1163" t="-3922" b="-19608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1" name="Right Arrow 30"/>
          <p:cNvSpPr/>
          <p:nvPr/>
        </p:nvSpPr>
        <p:spPr>
          <a:xfrm>
            <a:off x="2794386" y="4691511"/>
            <a:ext cx="978408" cy="484632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50" b="1" dirty="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05600" y="4688968"/>
            <a:ext cx="6096001" cy="546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4408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Example 1 (First-order RSM)</a:t>
            </a:r>
            <a:endParaRPr lang="en-IN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Content Placeholder 3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latinLnBrk="0">
                  <a:lnSpc>
                    <a:spcPct val="200000"/>
                  </a:lnSpc>
                </a:pPr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In order to check, </a:t>
                </a:r>
                <a:r>
                  <a:rPr lang="en-IN" sz="2400" b="1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hether the first-order model fitted or not</a:t>
                </a:r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, we have to check the following:</a:t>
                </a:r>
              </a:p>
              <a:p>
                <a:pPr marL="1019922" lvl="1" indent="-457200" latinLnBrk="0">
                  <a:lnSpc>
                    <a:spcPct val="200000"/>
                  </a:lnSpc>
                  <a:buFont typeface="+mj-lt"/>
                  <a:buAutoNum type="arabicPeriod"/>
                </a:pPr>
                <a:r>
                  <a:rPr lang="en-IN" sz="1907" dirty="0">
                    <a:latin typeface="Arial" panose="020B0604020202020204" pitchFamily="34" charset="0"/>
                    <a:cs typeface="Arial" panose="020B0604020202020204" pitchFamily="34" charset="0"/>
                  </a:rPr>
                  <a:t>Estimate the Error (based on central point observation)</a:t>
                </a:r>
              </a:p>
              <a:p>
                <a:pPr marL="1019922" lvl="1" indent="-457200" latinLnBrk="0">
                  <a:lnSpc>
                    <a:spcPct val="200000"/>
                  </a:lnSpc>
                  <a:buFont typeface="+mj-lt"/>
                  <a:buAutoNum type="arabicPeriod"/>
                </a:pPr>
                <a:r>
                  <a:rPr lang="en-IN" sz="1907" dirty="0">
                    <a:latin typeface="Arial" panose="020B0604020202020204" pitchFamily="34" charset="0"/>
                    <a:cs typeface="Arial" panose="020B0604020202020204" pitchFamily="34" charset="0"/>
                  </a:rPr>
                  <a:t>Test for Interaction (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IN" sz="1907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accPr>
                      <m:e>
                        <m:r>
                          <a:rPr lang="en-IN" sz="1907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𝑦</m:t>
                        </m:r>
                      </m:e>
                    </m:acc>
                    <m:r>
                      <a:rPr lang="en-IN" sz="1907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 </m:t>
                    </m:r>
                    <m:sSub>
                      <m:sSubPr>
                        <m:ctrlPr>
                          <a:rPr lang="en-IN" sz="1907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1907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1907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0</m:t>
                        </m:r>
                      </m:sub>
                    </m:sSub>
                    <m:r>
                      <a:rPr lang="en-IN" sz="1907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sSub>
                      <m:sSubPr>
                        <m:ctrlPr>
                          <a:rPr lang="en-IN" sz="1907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1907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en-IN" sz="1907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1907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1907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IN" sz="1907" b="0" i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sSub>
                      <m:sSubPr>
                        <m:ctrlPr>
                          <a:rPr lang="en-IN" sz="1907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1907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en-IN" sz="1907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1907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IN" sz="1907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sSub>
                      <m:sSubPr>
                        <m:ctrlPr>
                          <a:rPr lang="en-IN" sz="1907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  <m:r>
                          <a:rPr lang="en-IN" sz="1907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en-IN" sz="1907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en-IN" sz="1907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1907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IN" sz="1907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)</m:t>
                    </m:r>
                  </m:oMath>
                </a14:m>
                <a:r>
                  <a:rPr lang="en-IN" sz="1907" dirty="0">
                    <a:latin typeface="Arial" panose="020B0604020202020204" pitchFamily="34" charset="0"/>
                    <a:cs typeface="Arial" panose="020B0604020202020204" pitchFamily="34" charset="0"/>
                  </a:rPr>
                  <a:t> whethe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sz="1907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2</m:t>
                        </m:r>
                      </m:sub>
                    </m:sSub>
                  </m:oMath>
                </a14:m>
                <a:r>
                  <a:rPr lang="en-IN" sz="1907" dirty="0">
                    <a:latin typeface="Arial" panose="020B0604020202020204" pitchFamily="34" charset="0"/>
                    <a:cs typeface="Arial" panose="020B0604020202020204" pitchFamily="34" charset="0"/>
                  </a:rPr>
                  <a:t> significant or not?</a:t>
                </a:r>
              </a:p>
              <a:p>
                <a:pPr marL="1019922" lvl="1" indent="-457200" latinLnBrk="0">
                  <a:lnSpc>
                    <a:spcPct val="200000"/>
                  </a:lnSpc>
                  <a:buFont typeface="+mj-lt"/>
                  <a:buAutoNum type="arabicPeriod"/>
                </a:pPr>
                <a:r>
                  <a:rPr lang="en-IN" sz="1907" dirty="0">
                    <a:latin typeface="Arial" panose="020B0604020202020204" pitchFamily="34" charset="0"/>
                    <a:cs typeface="Arial" panose="020B0604020202020204" pitchFamily="34" charset="0"/>
                  </a:rPr>
                  <a:t>Test for Quadratic effects (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IN" sz="1907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accPr>
                      <m:e>
                        <m:r>
                          <a:rPr lang="en-IN" sz="1907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𝑦</m:t>
                        </m:r>
                      </m:e>
                    </m:acc>
                    <m:r>
                      <a:rPr lang="en-IN" sz="1907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 </m:t>
                    </m:r>
                    <m:sSub>
                      <m:sSubPr>
                        <m:ctrlPr>
                          <a:rPr lang="en-IN" sz="1907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1907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0</m:t>
                        </m:r>
                      </m:sub>
                    </m:sSub>
                    <m:r>
                      <a:rPr lang="en-IN" sz="1907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sSub>
                      <m:sSubPr>
                        <m:ctrlPr>
                          <a:rPr lang="en-IN" sz="1907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en-IN" sz="1907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IN" sz="1907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sSub>
                      <m:sSubPr>
                        <m:ctrlPr>
                          <a:rPr lang="en-IN" sz="1907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en-IN" sz="1907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IN" sz="1907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sSub>
                      <m:sSubPr>
                        <m:ctrlPr>
                          <a:rPr lang="en-IN" sz="1907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2</m:t>
                        </m:r>
                      </m:sub>
                    </m:sSub>
                    <m:sSub>
                      <m:sSubPr>
                        <m:ctrlPr>
                          <a:rPr lang="en-IN" sz="1907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en-IN" sz="1907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IN" sz="1907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sSubSup>
                      <m:sSubSupPr>
                        <m:ctrlPr>
                          <a:rPr lang="en-IN" sz="1907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1907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1907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1</m:t>
                        </m:r>
                      </m:sub>
                      <m:sup/>
                    </m:sSubSup>
                    <m:sSubSup>
                      <m:sSubSupPr>
                        <m:ctrlP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1907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  <m:sup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bSup>
                    <m:r>
                      <a:rPr lang="en-IN" sz="1907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sSubSup>
                      <m:sSubSupPr>
                        <m:ctrlP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1907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2</m:t>
                        </m:r>
                      </m:sub>
                      <m:sup/>
                    </m:sSubSup>
                    <m:sSubSup>
                      <m:sSubSupPr>
                        <m:ctrlP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1907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  <m:sup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bSup>
                    <m:r>
                      <a:rPr lang="en-IN" sz="1907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)</m:t>
                    </m:r>
                  </m:oMath>
                </a14:m>
                <a:r>
                  <a:rPr lang="en-IN" sz="1907" dirty="0">
                    <a:latin typeface="Arial" panose="020B0604020202020204" pitchFamily="34" charset="0"/>
                    <a:cs typeface="Arial" panose="020B0604020202020204" pitchFamily="34" charset="0"/>
                  </a:rPr>
                  <a:t> whether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1</m:t>
                        </m:r>
                      </m:sub>
                      <m:sup/>
                    </m:sSubSup>
                    <m:r>
                      <a:rPr lang="en-IN" sz="1907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sSubSup>
                      <m:sSubSupPr>
                        <m:ctrlP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1907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2</m:t>
                        </m:r>
                      </m:sub>
                      <m:sup/>
                    </m:sSubSup>
                  </m:oMath>
                </a14:m>
                <a:r>
                  <a:rPr lang="en-IN" sz="1907" dirty="0">
                    <a:latin typeface="Arial" panose="020B0604020202020204" pitchFamily="34" charset="0"/>
                    <a:cs typeface="Arial" panose="020B0604020202020204" pitchFamily="34" charset="0"/>
                  </a:rPr>
                  <a:t> significant or not?</a:t>
                </a:r>
              </a:p>
              <a:p>
                <a:pPr marL="1019922" lvl="1" indent="-457200" latinLnBrk="0">
                  <a:lnSpc>
                    <a:spcPct val="200000"/>
                  </a:lnSpc>
                  <a:buFont typeface="+mj-lt"/>
                  <a:buAutoNum type="arabicPeriod"/>
                </a:pPr>
                <a:r>
                  <a:rPr lang="en-IN" sz="1907" dirty="0">
                    <a:latin typeface="Arial" panose="020B0604020202020204" pitchFamily="34" charset="0"/>
                    <a:cs typeface="Arial" panose="020B0604020202020204" pitchFamily="34" charset="0"/>
                  </a:rPr>
                  <a:t>If step 2 and step 3 is equal to zero, then we can say the first-order model is fit. If not, we have to analysis further.</a:t>
                </a:r>
              </a:p>
            </p:txBody>
          </p:sp>
        </mc:Choice>
        <mc:Fallback xmlns="">
          <p:sp>
            <p:nvSpPr>
              <p:cNvPr id="4" name="Content Placeholder 3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3"/>
                <a:stretch>
                  <a:fillRect l="-722" b="-5213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02897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Example 1 (First-order RSM)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70340" indent="0" latinLnBrk="0">
              <a:lnSpc>
                <a:spcPct val="200000"/>
              </a:lnSpc>
              <a:buNone/>
            </a:pPr>
            <a:r>
              <a:rPr lang="en-IN" sz="2400" b="1" dirty="0">
                <a:latin typeface="Arial" panose="020B0604020202020204" pitchFamily="34" charset="0"/>
                <a:cs typeface="Arial" panose="020B0604020202020204" pitchFamily="34" charset="0"/>
              </a:rPr>
              <a:t>Step 1. Estimate the Error (based on central point observation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2524" y="2420888"/>
            <a:ext cx="8686800" cy="80962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24632" y="1829892"/>
            <a:ext cx="101425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800" dirty="0">
                <a:latin typeface="Arial" panose="020B0604020202020204" pitchFamily="34" charset="0"/>
                <a:cs typeface="Arial" panose="020B0604020202020204" pitchFamily="34" charset="0"/>
              </a:rPr>
              <a:t>Error = [Sum of square of all the values/responses – (squares of sum of all the values)/n] / n-1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63795" y="3599132"/>
            <a:ext cx="55483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400" dirty="0">
                <a:latin typeface="Arial" panose="020B0604020202020204" pitchFamily="34" charset="0"/>
                <a:cs typeface="Arial" panose="020B0604020202020204" pitchFamily="34" charset="0"/>
              </a:rPr>
              <a:t>The mean square Error (MS</a:t>
            </a:r>
            <a:r>
              <a:rPr lang="en-IN" sz="2400" baseline="-25000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IN" sz="2400" dirty="0">
                <a:latin typeface="Arial" panose="020B0604020202020204" pitchFamily="34" charset="0"/>
                <a:cs typeface="Arial" panose="020B0604020202020204" pitchFamily="34" charset="0"/>
              </a:rPr>
              <a:t>) = 0.0430</a:t>
            </a:r>
          </a:p>
        </p:txBody>
      </p:sp>
    </p:spTree>
    <p:extLst>
      <p:ext uri="{BB962C8B-B14F-4D97-AF65-F5344CB8AC3E}">
        <p14:creationId xmlns:p14="http://schemas.microsoft.com/office/powerpoint/2010/main" val="14116952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Example 1 (First-order RSM)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13632" y="692696"/>
            <a:ext cx="10972800" cy="5145436"/>
          </a:xfrm>
        </p:spPr>
        <p:txBody>
          <a:bodyPr/>
          <a:lstStyle/>
          <a:p>
            <a:pPr marL="70340" indent="0" latinLnBrk="0">
              <a:lnSpc>
                <a:spcPct val="150000"/>
              </a:lnSpc>
              <a:buNone/>
            </a:pPr>
            <a:r>
              <a:rPr lang="en-IN" sz="2400" b="1" dirty="0">
                <a:latin typeface="Arial" panose="020B0604020202020204" pitchFamily="34" charset="0"/>
                <a:cs typeface="Arial" panose="020B0604020202020204" pitchFamily="34" charset="0"/>
              </a:rPr>
              <a:t>Step 2. Test for Interaction Estimate the Error</a:t>
            </a:r>
          </a:p>
          <a:p>
            <a:pPr marL="70340" indent="0" latinLnBrk="0">
              <a:lnSpc>
                <a:spcPct val="150000"/>
              </a:lnSpc>
              <a:buNone/>
            </a:pPr>
            <a:endParaRPr lang="en-IN" sz="24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ectangle 9"/>
              <p:cNvSpPr/>
              <p:nvPr/>
            </p:nvSpPr>
            <p:spPr>
              <a:xfrm>
                <a:off x="731404" y="1592796"/>
                <a:ext cx="11146592" cy="267765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just"/>
                <a:r>
                  <a:rPr lang="en-US" sz="24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he first-order model assumes that the variables </a:t>
                </a:r>
                <a:r>
                  <a:rPr lang="en-US" sz="2400" i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x</a:t>
                </a:r>
                <a:r>
                  <a:rPr lang="en-US" sz="24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 and </a:t>
                </a:r>
                <a:r>
                  <a:rPr lang="en-US" sz="2400" i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x</a:t>
                </a:r>
                <a:r>
                  <a:rPr lang="en-US" sz="24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 have an </a:t>
                </a:r>
                <a:r>
                  <a:rPr lang="en-US" sz="2400" b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dditive effect </a:t>
                </a:r>
                <a:r>
                  <a:rPr lang="en-US" sz="24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n the response. The interaction between the variables would be represented by the coefficient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sz="24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4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2</m:t>
                        </m:r>
                      </m:sub>
                    </m:sSub>
                  </m:oMath>
                </a14:m>
                <a:r>
                  <a:rPr lang="en-IN" sz="24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of a cross-product term x1x2 added to the model.</a:t>
                </a:r>
              </a:p>
              <a:p>
                <a:pPr algn="just"/>
                <a:endParaRPr lang="en-IN" sz="2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r>
                  <a:rPr lang="en-IN" sz="24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he least squares </a:t>
                </a:r>
                <a:r>
                  <a:rPr lang="en-US" sz="24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stimate of this coefficient is just one-half the interaction effect calculated as in an ordinary 2</a:t>
                </a:r>
                <a:r>
                  <a:rPr lang="en-US" sz="2400" baseline="300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</a:t>
                </a:r>
                <a:r>
                  <a:rPr lang="en-US" sz="24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factorial design,</a:t>
                </a:r>
                <a:endParaRPr lang="en-IN" sz="2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0" name="Rectangle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1404" y="1592796"/>
                <a:ext cx="11146592" cy="2677656"/>
              </a:xfrm>
              <a:prstGeom prst="rect">
                <a:avLst/>
              </a:prstGeom>
              <a:blipFill rotWithShape="0">
                <a:blip r:embed="rId3"/>
                <a:stretch>
                  <a:fillRect l="-875" t="-1591" r="-821" b="-4318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9526543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Example 1 (First-order RSM)</a:t>
            </a:r>
            <a:endParaRPr lang="en-IN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Content Placeholder 3"/>
              <p:cNvSpPr>
                <a:spLocks noGrp="1"/>
              </p:cNvSpPr>
              <p:nvPr>
                <p:ph idx="1"/>
              </p:nvPr>
            </p:nvSpPr>
            <p:spPr>
              <a:xfrm>
                <a:off x="613632" y="692696"/>
                <a:ext cx="10972800" cy="5145436"/>
              </a:xfrm>
            </p:spPr>
            <p:txBody>
              <a:bodyPr/>
              <a:lstStyle/>
              <a:p>
                <a:pPr marL="70340" indent="0" latinLnBrk="0">
                  <a:lnSpc>
                    <a:spcPct val="150000"/>
                  </a:lnSpc>
                  <a:buNone/>
                </a:pPr>
                <a:r>
                  <a:rPr lang="en-IN" sz="2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Step 2. Test for Interaction Estimate the Error</a:t>
                </a:r>
              </a:p>
              <a:p>
                <a:pPr marL="70340" indent="0" latinLnBrk="0">
                  <a:lnSpc>
                    <a:spcPct val="150000"/>
                  </a:lnSpc>
                  <a:buNone/>
                </a:pPr>
                <a:r>
                  <a:rPr lang="en-IN" sz="2000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est for Interaction (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accPr>
                      <m:e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𝑦</m:t>
                        </m:r>
                      </m:e>
                    </m:acc>
                    <m:r>
                      <a:rPr lang="en-IN" sz="2000" i="1">
                        <a:solidFill>
                          <a:srgbClr val="FF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 </m:t>
                    </m:r>
                    <m:sSub>
                      <m:sSubPr>
                        <m:ctrlP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0</m:t>
                        </m:r>
                      </m:sub>
                    </m:sSub>
                    <m:r>
                      <a:rPr lang="en-IN" sz="2000" i="1">
                        <a:solidFill>
                          <a:srgbClr val="FF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sSub>
                      <m:sSubPr>
                        <m:ctrlP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IN" sz="2000">
                        <a:solidFill>
                          <a:srgbClr val="FF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sSub>
                      <m:sSubPr>
                        <m:ctrlP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IN" sz="2000" i="1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sSub>
                      <m:sSubPr>
                        <m:ctrlP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2</m:t>
                        </m:r>
                      </m:sub>
                    </m:sSub>
                    <m:sSub>
                      <m:sSubPr>
                        <m:ctrlP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IN" sz="2000" i="1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)</m:t>
                    </m:r>
                  </m:oMath>
                </a14:m>
                <a:r>
                  <a:rPr lang="en-IN" sz="2000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whethe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2</m:t>
                        </m:r>
                      </m:sub>
                    </m:sSub>
                  </m:oMath>
                </a14:m>
                <a:r>
                  <a:rPr lang="en-IN" sz="2000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significant or not?</a:t>
                </a:r>
              </a:p>
              <a:p>
                <a:pPr marL="70340" indent="0" latinLnBrk="0">
                  <a:lnSpc>
                    <a:spcPct val="150000"/>
                  </a:lnSpc>
                  <a:buNone/>
                </a:pPr>
                <a:r>
                  <a:rPr lang="en-IN" sz="2000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o, Hypothesis H0 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2</m:t>
                        </m:r>
                      </m:sub>
                    </m:sSub>
                  </m:oMath>
                </a14:m>
                <a:r>
                  <a:rPr lang="en-IN" sz="2000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=  0</a:t>
                </a:r>
              </a:p>
              <a:p>
                <a:pPr marL="70340" indent="0" latinLnBrk="0">
                  <a:lnSpc>
                    <a:spcPct val="150000"/>
                  </a:lnSpc>
                  <a:buNone/>
                </a:pPr>
                <a:r>
                  <a:rPr lang="en-IN" sz="2000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     Alternative H1 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2</m:t>
                        </m:r>
                      </m:sub>
                    </m:sSub>
                  </m:oMath>
                </a14:m>
                <a:r>
                  <a:rPr lang="en-IN" sz="2000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≠ 0</a:t>
                </a:r>
              </a:p>
              <a:p>
                <a:pPr marL="70340" indent="0" latinLnBrk="0">
                  <a:lnSpc>
                    <a:spcPct val="150000"/>
                  </a:lnSpc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2</m:t>
                        </m:r>
                      </m:sub>
                    </m:sSub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can be estimated from factorial points.</a:t>
                </a:r>
              </a:p>
              <a:p>
                <a:pPr marL="70340" indent="0" latinLnBrk="0">
                  <a:lnSpc>
                    <a:spcPct val="150000"/>
                  </a:lnSpc>
                  <a:buNone/>
                </a:pPr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So Interaction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IN" sz="240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IN" sz="24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num>
                      <m:den>
                        <m:r>
                          <a:rPr lang="en-IN" sz="24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den>
                    </m:f>
                    <m:r>
                      <a:rPr lang="en-IN" sz="24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[</m:t>
                    </m:r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Average of (39.3+41.5) – Average of (40+40.9)] = - 0.025</a:t>
                </a:r>
              </a:p>
              <a:p>
                <a:pPr marL="70340" indent="0" latinLnBrk="0">
                  <a:lnSpc>
                    <a:spcPct val="150000"/>
                  </a:lnSpc>
                  <a:buNone/>
                </a:pPr>
                <a:r>
                  <a:rPr lang="en-IN" sz="2400" b="1" dirty="0">
                    <a:solidFill>
                      <a:srgbClr val="00B0F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or)</a:t>
                </a:r>
              </a:p>
              <a:p>
                <a:pPr marL="70340" indent="0" latinLnBrk="0">
                  <a:lnSpc>
                    <a:spcPct val="150000"/>
                  </a:lnSpc>
                  <a:buNone/>
                </a:pPr>
                <a:r>
                  <a:rPr lang="en-IN" sz="2000" dirty="0">
                    <a:solidFill>
                      <a:srgbClr val="00B0F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B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IN" sz="200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IN" sz="2000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num>
                      <m:den>
                        <m:r>
                          <a:rPr lang="en-IN" sz="2000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den>
                    </m:f>
                    <m:r>
                      <a:rPr lang="en-IN" sz="2000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(</m:t>
                    </m:r>
                  </m:oMath>
                </a14:m>
                <a:r>
                  <a:rPr lang="en-IN" sz="2000" dirty="0">
                    <a:solidFill>
                      <a:srgbClr val="00B0F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41.5+39.3-40.9-40]</a:t>
                </a:r>
              </a:p>
              <a:p>
                <a:pPr marL="70340" indent="0" latinLnBrk="0">
                  <a:lnSpc>
                    <a:spcPct val="150000"/>
                  </a:lnSpc>
                  <a:buNone/>
                </a:pPr>
                <a:r>
                  <a:rPr lang="en-IN" sz="2000" dirty="0">
                    <a:solidFill>
                      <a:srgbClr val="00B0F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ence, Interaction = AB/2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IN" sz="2000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IN" sz="2000" b="0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num>
                      <m:den>
                        <m:r>
                          <a:rPr lang="en-IN" sz="2000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4</m:t>
                        </m:r>
                      </m:den>
                    </m:f>
                    <m:r>
                      <a:rPr lang="en-IN" sz="2000" b="0" i="1">
                        <a:solidFill>
                          <a:srgbClr val="00B0F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(</m:t>
                    </m:r>
                  </m:oMath>
                </a14:m>
                <a:r>
                  <a:rPr lang="en-IN" sz="2000" dirty="0">
                    <a:solidFill>
                      <a:srgbClr val="00B0F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41.5+39.3-40.9-40] = -0.025</a:t>
                </a:r>
              </a:p>
              <a:p>
                <a:pPr marL="70340" indent="0" latinLnBrk="0">
                  <a:lnSpc>
                    <a:spcPct val="150000"/>
                  </a:lnSpc>
                  <a:buNone/>
                </a:pPr>
                <a:endParaRPr lang="en-IN" sz="24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4" name="Content Placeholder 3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613632" y="692696"/>
                <a:ext cx="10972800" cy="5145436"/>
              </a:xfrm>
              <a:blipFill>
                <a:blip r:embed="rId3"/>
                <a:stretch>
                  <a:fillRect l="-222" b="-12085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Rectangle 8"/>
          <p:cNvSpPr/>
          <p:nvPr/>
        </p:nvSpPr>
        <p:spPr>
          <a:xfrm>
            <a:off x="9228348" y="2528900"/>
            <a:ext cx="1606387" cy="1044116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sz="1050" b="1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643016" y="3535267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00B0F0"/>
                </a:solidFill>
              </a:rPr>
              <a:t>40.9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073211" y="3535268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00B0F0"/>
                </a:solidFill>
              </a:rPr>
              <a:t>39.3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834735" y="2337443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00B0F0"/>
                </a:solidFill>
              </a:rPr>
              <a:t>41.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951223" y="2221123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00B0F0"/>
                </a:solidFill>
              </a:rPr>
              <a:t>40</a:t>
            </a:r>
          </a:p>
        </p:txBody>
      </p:sp>
    </p:spTree>
    <p:extLst>
      <p:ext uri="{BB962C8B-B14F-4D97-AF65-F5344CB8AC3E}">
        <p14:creationId xmlns:p14="http://schemas.microsoft.com/office/powerpoint/2010/main" val="418134985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Example 1 (First-order RSM)</a:t>
            </a:r>
            <a:endParaRPr lang="en-IN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Content Placeholder 3"/>
              <p:cNvSpPr>
                <a:spLocks noGrp="1"/>
              </p:cNvSpPr>
              <p:nvPr>
                <p:ph idx="1"/>
              </p:nvPr>
            </p:nvSpPr>
            <p:spPr>
              <a:xfrm>
                <a:off x="613632" y="692696"/>
                <a:ext cx="10972800" cy="5145436"/>
              </a:xfrm>
            </p:spPr>
            <p:txBody>
              <a:bodyPr/>
              <a:lstStyle/>
              <a:p>
                <a:pPr marL="70340" indent="0" algn="just" latinLnBrk="0">
                  <a:lnSpc>
                    <a:spcPct val="150000"/>
                  </a:lnSpc>
                  <a:buNone/>
                </a:pPr>
                <a:r>
                  <a:rPr lang="en-IN" sz="2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Step 2. Test for Interaction Estimate the Error</a:t>
                </a:r>
              </a:p>
              <a:p>
                <a:pPr marL="70340" indent="0" algn="just" latinLnBrk="0">
                  <a:lnSpc>
                    <a:spcPct val="150000"/>
                  </a:lnSpc>
                  <a:buNone/>
                </a:pPr>
                <a:r>
                  <a:rPr lang="en-IN" sz="2000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est for Interaction (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accPr>
                      <m:e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𝑦</m:t>
                        </m:r>
                      </m:e>
                    </m:acc>
                    <m:r>
                      <a:rPr lang="en-IN" sz="2000" i="1">
                        <a:solidFill>
                          <a:srgbClr val="FF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 </m:t>
                    </m:r>
                    <m:sSub>
                      <m:sSubPr>
                        <m:ctrlP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0</m:t>
                        </m:r>
                      </m:sub>
                    </m:sSub>
                    <m:r>
                      <a:rPr lang="en-IN" sz="2000" i="1">
                        <a:solidFill>
                          <a:srgbClr val="FF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sSub>
                      <m:sSubPr>
                        <m:ctrlP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IN" sz="2000">
                        <a:solidFill>
                          <a:srgbClr val="FF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sSub>
                      <m:sSubPr>
                        <m:ctrlP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IN" sz="2000" i="1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sSub>
                      <m:sSubPr>
                        <m:ctrlP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2</m:t>
                        </m:r>
                      </m:sub>
                    </m:sSub>
                    <m:sSub>
                      <m:sSubPr>
                        <m:ctrlP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IN" sz="2000" i="1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)</m:t>
                    </m:r>
                  </m:oMath>
                </a14:m>
                <a:r>
                  <a:rPr lang="en-IN" sz="2000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whethe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0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2</m:t>
                        </m:r>
                      </m:sub>
                    </m:sSub>
                  </m:oMath>
                </a14:m>
                <a:r>
                  <a:rPr lang="en-IN" sz="2000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significant or not?</a:t>
                </a:r>
              </a:p>
              <a:p>
                <a:pPr marL="70340" indent="0" algn="just" latinLnBrk="0">
                  <a:lnSpc>
                    <a:spcPct val="150000"/>
                  </a:lnSpc>
                  <a:buNone/>
                </a:pPr>
                <a:r>
                  <a:rPr lang="en-IN" sz="2000" dirty="0">
                    <a:latin typeface="Arial" panose="020B0604020202020204" pitchFamily="34" charset="0"/>
                    <a:cs typeface="Arial" panose="020B0604020202020204" pitchFamily="34" charset="0"/>
                  </a:rPr>
                  <a:t>Hence, Interaction =  -0.025 with DOF = 1</a:t>
                </a:r>
              </a:p>
              <a:p>
                <a:pPr marL="70340" indent="0" algn="just" latinLnBrk="0">
                  <a:lnSpc>
                    <a:spcPct val="150000"/>
                  </a:lnSpc>
                  <a:buNone/>
                </a:pPr>
                <a:r>
                  <a:rPr lang="en-IN" sz="2000" dirty="0">
                    <a:latin typeface="Arial" panose="020B0604020202020204" pitchFamily="34" charset="0"/>
                    <a:cs typeface="Arial" panose="020B0604020202020204" pitchFamily="34" charset="0"/>
                  </a:rPr>
                  <a:t>MS</a:t>
                </a:r>
                <a:r>
                  <a:rPr lang="en-IN" sz="2000" baseline="-25000" dirty="0">
                    <a:latin typeface="Arial" panose="020B0604020202020204" pitchFamily="34" charset="0"/>
                    <a:cs typeface="Arial" panose="020B0604020202020204" pitchFamily="34" charset="0"/>
                  </a:rPr>
                  <a:t>E</a:t>
                </a:r>
                <a:r>
                  <a:rPr lang="en-IN" sz="2000" dirty="0">
                    <a:latin typeface="Arial" panose="020B0604020202020204" pitchFamily="34" charset="0"/>
                    <a:cs typeface="Arial" panose="020B0604020202020204" pitchFamily="34" charset="0"/>
                  </a:rPr>
                  <a:t> = 0.0430 with DOF = 4</a:t>
                </a:r>
                <a:endParaRPr lang="en-IN" sz="2000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70340" indent="0" algn="just" latinLnBrk="0">
                  <a:lnSpc>
                    <a:spcPct val="150000"/>
                  </a:lnSpc>
                  <a:buNone/>
                </a:pPr>
                <a:r>
                  <a:rPr lang="en-IN" sz="2400" dirty="0">
                    <a:solidFill>
                      <a:srgbClr val="00B0F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e have to know whether interaction is significant or not, hence, compare the interaction value with MS</a:t>
                </a:r>
                <a:r>
                  <a:rPr lang="en-IN" sz="2400" baseline="-25000" dirty="0">
                    <a:solidFill>
                      <a:srgbClr val="00B0F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</a:t>
                </a:r>
              </a:p>
              <a:p>
                <a:pPr marL="70340" indent="0" algn="just" latinLnBrk="0">
                  <a:lnSpc>
                    <a:spcPct val="150000"/>
                  </a:lnSpc>
                  <a:buNone/>
                </a:pPr>
                <a:r>
                  <a:rPr lang="en-IN" sz="2400" dirty="0">
                    <a:solidFill>
                      <a:srgbClr val="00B0F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IN" sz="240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IN" sz="240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en-IN" sz="2400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(</m:t>
                            </m:r>
                            <m:r>
                              <a:rPr lang="en-IN" sz="2400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𝑆𝑆</m:t>
                            </m:r>
                          </m:e>
                          <m:sub>
                            <m:sSub>
                              <m:sSubPr>
                                <m:ctrlPr>
                                  <a:rPr lang="en-IN" sz="2400" i="1" smtClean="0">
                                    <a:solidFill>
                                      <a:srgbClr val="00B0F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</m:ctrlPr>
                              </m:sSubPr>
                              <m:e>
                                <m:r>
                                  <a:rPr lang="en-IN" sz="2400" b="0" i="1" smtClean="0">
                                    <a:solidFill>
                                      <a:srgbClr val="00B0F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IN" sz="2400" b="0" i="1" smtClean="0">
                                    <a:solidFill>
                                      <a:srgbClr val="00B0F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1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en-IN" sz="2400" i="1">
                                    <a:solidFill>
                                      <a:srgbClr val="00B0F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</m:ctrlPr>
                              </m:sSubPr>
                              <m:e>
                                <m:r>
                                  <a:rPr lang="en-IN" sz="2400" i="1">
                                    <a:solidFill>
                                      <a:srgbClr val="00B0F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IN" sz="2400" b="0" i="1" smtClean="0">
                                    <a:solidFill>
                                      <a:srgbClr val="00B0F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2</m:t>
                                </m:r>
                              </m:sub>
                            </m:sSub>
                            <m:r>
                              <a:rPr lang="en-IN" sz="2400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/</m:t>
                            </m:r>
                            <m:r>
                              <a:rPr lang="en-IN" sz="2400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𝐷𝑂𝐹</m:t>
                            </m:r>
                            <m:r>
                              <a:rPr lang="en-IN" sz="2400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)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IN" sz="240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en-IN" sz="2400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𝑀𝑆</m:t>
                            </m:r>
                          </m:e>
                          <m:sub>
                            <m:r>
                              <a:rPr lang="en-IN" sz="2400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𝐸</m:t>
                            </m:r>
                          </m:sub>
                        </m:sSub>
                      </m:den>
                    </m:f>
                    <m:r>
                      <a:rPr lang="en-IN" sz="2400" b="0" i="0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f>
                      <m:fPr>
                        <m:ctrlPr>
                          <a:rPr lang="en-IN" sz="2400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IN" sz="2400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IN" sz="2400" b="0" i="1" smtClean="0">
                                    <a:solidFill>
                                      <a:srgbClr val="00B0F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ctrlPr>
                                      <a:rPr lang="en-IN" sz="2400" b="0" i="1" smtClean="0">
                                        <a:solidFill>
                                          <a:srgbClr val="00B0F0"/>
                                        </a:solidFill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IN" sz="2400" b="0" i="1" smtClean="0">
                                        <a:solidFill>
                                          <a:srgbClr val="00B0F0"/>
                                        </a:solidFill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−0.1</m:t>
                                    </m:r>
                                  </m:e>
                                </m:d>
                              </m:e>
                              <m:sup>
                                <m:r>
                                  <a:rPr lang="en-IN" sz="2400" b="0" i="1" smtClean="0">
                                    <a:solidFill>
                                      <a:srgbClr val="00B0F0"/>
                                    </a:solidFill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2</m:t>
                                </m:r>
                              </m:sup>
                            </m:sSup>
                          </m:num>
                          <m:den>
                            <m:r>
                              <a:rPr lang="en-IN" sz="2400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4</m:t>
                            </m:r>
                          </m:den>
                        </m:f>
                      </m:num>
                      <m:den>
                        <m:r>
                          <a:rPr lang="en-IN" sz="2400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0.0430</m:t>
                        </m:r>
                      </m:den>
                    </m:f>
                    <m:r>
                      <a:rPr lang="en-IN" sz="2400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0.058</m:t>
                    </m:r>
                  </m:oMath>
                </a14:m>
                <a:r>
                  <a:rPr lang="en-IN" sz="2400" dirty="0">
                    <a:solidFill>
                      <a:srgbClr val="00B0F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…which is small and insignificant or negligible. </a:t>
                </a:r>
              </a:p>
            </p:txBody>
          </p:sp>
        </mc:Choice>
        <mc:Fallback xmlns="">
          <p:sp>
            <p:nvSpPr>
              <p:cNvPr id="4" name="Content Placeholder 3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613632" y="692696"/>
                <a:ext cx="10972800" cy="5145436"/>
              </a:xfrm>
              <a:blipFill>
                <a:blip r:embed="rId3"/>
                <a:stretch>
                  <a:fillRect l="-222" r="-833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30794368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xample 1 (First-order RSM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Content Placeholder 3"/>
              <p:cNvSpPr>
                <a:spLocks noGrp="1"/>
              </p:cNvSpPr>
              <p:nvPr>
                <p:ph idx="1"/>
              </p:nvPr>
            </p:nvSpPr>
            <p:spPr>
              <a:xfrm>
                <a:off x="609600" y="692696"/>
                <a:ext cx="10972800" cy="5145436"/>
              </a:xfrm>
            </p:spPr>
            <p:txBody>
              <a:bodyPr/>
              <a:lstStyle/>
              <a:p>
                <a:pPr latinLnBrk="0"/>
                <a:r>
                  <a:rPr lang="en-IN" sz="2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Step 3: Test for Quadratic effects whether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IN" sz="2400" b="1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b="1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𝜷</m:t>
                        </m:r>
                      </m:e>
                      <m:sub>
                        <m:r>
                          <a:rPr lang="en-IN" sz="2400" b="1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𝟏𝟏</m:t>
                        </m:r>
                      </m:sub>
                      <m:sup/>
                    </m:sSubSup>
                    <m:r>
                      <a:rPr lang="en-IN" sz="2400" b="1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sSubSup>
                      <m:sSubSupPr>
                        <m:ctrlPr>
                          <a:rPr lang="en-IN" sz="2400" b="1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b="1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𝜷</m:t>
                        </m:r>
                      </m:e>
                      <m:sub>
                        <m:r>
                          <a:rPr lang="en-IN" sz="2400" b="1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𝟐𝟐</m:t>
                        </m:r>
                      </m:sub>
                      <m:sup/>
                    </m:sSubSup>
                  </m:oMath>
                </a14:m>
                <a:r>
                  <a:rPr lang="en-IN" sz="2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 significant or not?</a:t>
                </a:r>
              </a:p>
              <a:p>
                <a:pPr latinLnBrk="0"/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latinLnBrk="0">
                  <a:buNone/>
                </a:pPr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					whether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IN" sz="24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1</m:t>
                        </m:r>
                      </m:sub>
                      <m:sup/>
                    </m:sSubSup>
                    <m:r>
                      <a:rPr lang="en-IN" sz="2400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sSubSup>
                      <m:sSubSupPr>
                        <m:ctrlPr>
                          <a:rPr lang="en-IN" sz="24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2</m:t>
                        </m:r>
                      </m:sub>
                      <m:sup/>
                    </m:sSubSup>
                    <m:r>
                      <a:rPr lang="en-IN" sz="24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a:rPr lang="en-IN" sz="24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𝑌𝐹</m:t>
                    </m:r>
                    <m:r>
                      <a:rPr lang="en-IN" sz="24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 −</m:t>
                    </m:r>
                    <m:r>
                      <a:rPr lang="en-IN" sz="24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𝑌𝐶</m:t>
                    </m:r>
                  </m:oMath>
                </a14:m>
                <a:endParaRPr lang="en-IN" sz="2400" baseline="-250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latinLnBrk="0">
                  <a:buNone/>
                </a:pPr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                                                                                   = 40.425 – 40.46 = -0.035</a:t>
                </a:r>
              </a:p>
              <a:p>
                <a:pPr marL="70340" indent="0" latinLnBrk="0">
                  <a:lnSpc>
                    <a:spcPct val="150000"/>
                  </a:lnSpc>
                  <a:buNone/>
                </a:pPr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                                                             </a:t>
                </a:r>
                <a:r>
                  <a:rPr lang="en-IN" sz="2400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ypothesis H0 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en-IN" sz="2400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en-IN" sz="2400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𝛽</m:t>
                            </m:r>
                          </m:e>
                          <m:sub>
                            <m:r>
                              <a:rPr lang="en-IN" sz="2400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1</m:t>
                            </m:r>
                            <m:r>
                              <a:rPr lang="en-IN" sz="2400" b="0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1</m:t>
                            </m:r>
                          </m:sub>
                        </m:sSub>
                        <m:r>
                          <a:rPr lang="en-IN" sz="24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+</m:t>
                        </m:r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4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IN" sz="2400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=  0</a:t>
                </a:r>
              </a:p>
              <a:p>
                <a:pPr marL="70340" indent="0" latinLnBrk="0">
                  <a:lnSpc>
                    <a:spcPct val="150000"/>
                  </a:lnSpc>
                  <a:buNone/>
                </a:pPr>
                <a:r>
                  <a:rPr lang="en-IN" sz="2400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                                                             Alternative H1 =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en-IN" sz="2400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en-IN" sz="2400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𝛽</m:t>
                            </m:r>
                          </m:e>
                          <m:sub>
                            <m:r>
                              <a:rPr lang="en-IN" sz="2400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11</m:t>
                            </m:r>
                          </m:sub>
                        </m:sSub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+</m:t>
                        </m:r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2</m:t>
                        </m:r>
                      </m:sub>
                    </m:sSub>
                  </m:oMath>
                </a14:m>
                <a:r>
                  <a:rPr lang="en-IN" sz="2400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≠ 0</a:t>
                </a:r>
              </a:p>
              <a:p>
                <a:pPr marL="70340" indent="0" latinLnBrk="0">
                  <a:lnSpc>
                    <a:spcPct val="150000"/>
                  </a:lnSpc>
                  <a:buNone/>
                </a:pPr>
                <a:endParaRPr lang="en-IN" sz="24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70340" indent="0" latinLnBrk="0">
                  <a:lnSpc>
                    <a:spcPct val="150000"/>
                  </a:lnSpc>
                  <a:buNone/>
                </a:pPr>
                <a:endParaRPr lang="en-IN" sz="24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70340" indent="0" latinLnBrk="0">
                  <a:lnSpc>
                    <a:spcPct val="150000"/>
                  </a:lnSpc>
                  <a:buNone/>
                </a:pPr>
                <a:endParaRPr lang="en-IN" sz="24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70340" indent="0" latinLnBrk="0">
                  <a:lnSpc>
                    <a:spcPct val="150000"/>
                  </a:lnSpc>
                  <a:buNone/>
                </a:pPr>
                <a14:m>
                  <m:oMath xmlns:m="http://schemas.openxmlformats.org/officeDocument/2006/math">
                    <m:r>
                      <a:rPr lang="en-IN" sz="2400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 </m:t>
                    </m:r>
                    <m:r>
                      <a:rPr lang="en-IN" sz="2400" i="1">
                        <a:solidFill>
                          <a:srgbClr val="00B0F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0.063</m:t>
                    </m:r>
                  </m:oMath>
                </a14:m>
                <a:r>
                  <a:rPr lang="en-IN" sz="2400" dirty="0">
                    <a:solidFill>
                      <a:srgbClr val="00B0F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…which is small, hence, there is no indication of a pure quadratic effect.</a:t>
                </a:r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4" name="Content Placeholder 3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609600" y="692696"/>
                <a:ext cx="10972800" cy="5145436"/>
              </a:xfrm>
              <a:blipFill>
                <a:blip r:embed="rId3"/>
                <a:stretch>
                  <a:fillRect l="-722" b="-10308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ectangle 4"/>
          <p:cNvSpPr/>
          <p:nvPr/>
        </p:nvSpPr>
        <p:spPr>
          <a:xfrm>
            <a:off x="1019436" y="2348880"/>
            <a:ext cx="2376264" cy="1620180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sz="1050" b="1" dirty="0">
              <a:solidFill>
                <a:schemeClr val="tx1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2154314" y="3103108"/>
            <a:ext cx="106507" cy="111724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50" b="1" dirty="0">
              <a:solidFill>
                <a:schemeClr val="tx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453843" y="4003564"/>
            <a:ext cx="15265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Factorial portion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395396" y="2053713"/>
            <a:ext cx="15265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Factorial portio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27742" y="2012883"/>
            <a:ext cx="15265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Factorial portio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01003" y="3959435"/>
            <a:ext cx="15265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Factorial porti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609904" y="3271272"/>
            <a:ext cx="12091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Center point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81836" y="3896059"/>
            <a:ext cx="7010400" cy="885825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15980" y="4934297"/>
            <a:ext cx="4314825" cy="94297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492938" y="6116358"/>
            <a:ext cx="1149164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0">
              <a:lnSpc>
                <a:spcPct val="150000"/>
              </a:lnSpc>
            </a:pPr>
            <a:r>
              <a:rPr lang="en-IN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, quadratic effect not there…interaction effect not there…hence, the first-order model is fit one. </a:t>
            </a:r>
          </a:p>
        </p:txBody>
      </p:sp>
    </p:spTree>
    <p:extLst>
      <p:ext uri="{BB962C8B-B14F-4D97-AF65-F5344CB8AC3E}">
        <p14:creationId xmlns:p14="http://schemas.microsoft.com/office/powerpoint/2010/main" val="1902415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xample 1 (First-order RSM)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88" y="1088740"/>
            <a:ext cx="12192194" cy="399644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483AB78-D729-02BC-0AA0-03DB51CF0D2C}"/>
              </a:ext>
            </a:extLst>
          </p:cNvPr>
          <p:cNvSpPr txBox="1"/>
          <p:nvPr/>
        </p:nvSpPr>
        <p:spPr>
          <a:xfrm>
            <a:off x="7634081" y="3085423"/>
            <a:ext cx="9509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b="1" dirty="0"/>
              <a:t>0.0295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D13DE6A-8E9C-253F-1E94-E8E2F6233D17}"/>
              </a:ext>
            </a:extLst>
          </p:cNvPr>
          <p:cNvSpPr txBox="1"/>
          <p:nvPr/>
        </p:nvSpPr>
        <p:spPr>
          <a:xfrm>
            <a:off x="191344" y="5420660"/>
            <a:ext cx="11419345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SS Total =(39.3</a:t>
            </a:r>
            <a:r>
              <a:rPr lang="en-IN" baseline="30000" dirty="0"/>
              <a:t>2</a:t>
            </a:r>
            <a:r>
              <a:rPr lang="en-IN" dirty="0"/>
              <a:t>+ 40</a:t>
            </a:r>
            <a:r>
              <a:rPr lang="en-IN" baseline="30000" dirty="0"/>
              <a:t>2</a:t>
            </a:r>
            <a:r>
              <a:rPr lang="en-IN" dirty="0"/>
              <a:t>+ 40.9</a:t>
            </a:r>
            <a:r>
              <a:rPr lang="en-IN" baseline="30000" dirty="0"/>
              <a:t>2</a:t>
            </a:r>
            <a:r>
              <a:rPr lang="en-IN" dirty="0"/>
              <a:t>+ 41.5</a:t>
            </a:r>
            <a:r>
              <a:rPr lang="en-IN" baseline="30000" dirty="0"/>
              <a:t>2</a:t>
            </a:r>
            <a:r>
              <a:rPr lang="en-IN" dirty="0"/>
              <a:t>+ 40.3</a:t>
            </a:r>
            <a:r>
              <a:rPr lang="en-IN" baseline="30000" dirty="0"/>
              <a:t>2</a:t>
            </a:r>
            <a:r>
              <a:rPr lang="en-IN" dirty="0"/>
              <a:t>+ 40.5</a:t>
            </a:r>
            <a:r>
              <a:rPr lang="en-IN" baseline="30000" dirty="0"/>
              <a:t>2</a:t>
            </a:r>
            <a:r>
              <a:rPr lang="en-IN" dirty="0"/>
              <a:t>+ 40.7</a:t>
            </a:r>
            <a:r>
              <a:rPr lang="en-IN" baseline="30000" dirty="0"/>
              <a:t>2</a:t>
            </a:r>
            <a:r>
              <a:rPr lang="en-IN" dirty="0"/>
              <a:t>+ 40.2</a:t>
            </a:r>
            <a:r>
              <a:rPr lang="en-IN" baseline="30000" dirty="0"/>
              <a:t>2</a:t>
            </a:r>
            <a:r>
              <a:rPr lang="en-IN" dirty="0"/>
              <a:t>+ 40.6</a:t>
            </a:r>
            <a:r>
              <a:rPr lang="en-IN" baseline="30000" dirty="0"/>
              <a:t>2</a:t>
            </a:r>
            <a:r>
              <a:rPr lang="en-IN" dirty="0"/>
              <a:t>) – [(39.3+40+40.9+41.5+40.3+40.5+40.7+40.2+40.6)</a:t>
            </a:r>
            <a:r>
              <a:rPr lang="en-IN" baseline="30000" dirty="0"/>
              <a:t>2</a:t>
            </a:r>
            <a:r>
              <a:rPr lang="en-IN" dirty="0"/>
              <a:t>/9] =3.0022</a:t>
            </a:r>
          </a:p>
          <a:p>
            <a:endParaRPr lang="en-IN" dirty="0"/>
          </a:p>
          <a:p>
            <a:r>
              <a:rPr lang="en-IN" dirty="0"/>
              <a:t>SS Model = SS total – SS residual = 3.0022 – 0.1772 = 2.8250</a:t>
            </a:r>
          </a:p>
          <a:p>
            <a:endParaRPr lang="en-IN" dirty="0"/>
          </a:p>
          <a:p>
            <a:r>
              <a:rPr lang="en-IN" dirty="0"/>
              <a:t>F-Model = 2.8250/0.02953 = 47.83</a:t>
            </a:r>
          </a:p>
        </p:txBody>
      </p:sp>
    </p:spTree>
    <p:extLst>
      <p:ext uri="{BB962C8B-B14F-4D97-AF65-F5344CB8AC3E}">
        <p14:creationId xmlns:p14="http://schemas.microsoft.com/office/powerpoint/2010/main" val="60400202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xample 1 (First-order RSM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Content Placeholder 3"/>
              <p:cNvSpPr>
                <a:spLocks noGrp="1"/>
              </p:cNvSpPr>
              <p:nvPr>
                <p:ph idx="1"/>
              </p:nvPr>
            </p:nvSpPr>
            <p:spPr>
              <a:xfrm>
                <a:off x="609600" y="692696"/>
                <a:ext cx="10972800" cy="5145436"/>
              </a:xfrm>
            </p:spPr>
            <p:txBody>
              <a:bodyPr/>
              <a:lstStyle/>
              <a:p>
                <a:pPr algn="just" latinLnBrk="0">
                  <a:lnSpc>
                    <a:spcPct val="150000"/>
                  </a:lnSpc>
                </a:pPr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Hence, we can say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accPr>
                      <m:e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𝑦</m:t>
                        </m:r>
                      </m:e>
                    </m:acc>
                    <m:r>
                      <a:rPr lang="en-IN" sz="2400" i="1">
                        <a:solidFill>
                          <a:srgbClr val="FF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 </m:t>
                    </m:r>
                    <m:sSub>
                      <m:sSubPr>
                        <m:ctrlP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0</m:t>
                        </m:r>
                      </m:sub>
                    </m:sSub>
                    <m:r>
                      <a:rPr lang="en-IN" sz="2400" i="1">
                        <a:solidFill>
                          <a:srgbClr val="FF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sSub>
                      <m:sSubPr>
                        <m:ctrlP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IN" sz="2400">
                        <a:solidFill>
                          <a:srgbClr val="FF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sSub>
                      <m:sSubPr>
                        <m:ctrlP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is fit one…..</a:t>
                </a:r>
              </a:p>
              <a:p>
                <a:pPr algn="just" latinLnBrk="0">
                  <a:lnSpc>
                    <a:spcPct val="150000"/>
                  </a:lnSpc>
                </a:pPr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However, we need to ensure whether the parameter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and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4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is significant….by doing </a:t>
                </a:r>
                <a:r>
                  <a:rPr lang="en-IN" sz="2400" b="1" dirty="0">
                    <a:solidFill>
                      <a:srgbClr val="00B0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est of Parameter Estimates</a:t>
                </a:r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..</a:t>
                </a:r>
              </a:p>
              <a:p>
                <a:pPr algn="just" latinLnBrk="0">
                  <a:lnSpc>
                    <a:spcPct val="150000"/>
                  </a:lnSpc>
                </a:pPr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For that, we need to identify the variance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4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….i.e., V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4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  <a:p>
                <a:pPr marL="0" indent="0" algn="just" latinLnBrk="0">
                  <a:lnSpc>
                    <a:spcPct val="150000"/>
                  </a:lnSpc>
                  <a:buNone/>
                </a:pPr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V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)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IN" sz="240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IN" sz="240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en-IN" sz="24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𝑀𝑆</m:t>
                            </m:r>
                          </m:e>
                          <m:sub>
                            <m:r>
                              <a:rPr lang="en-IN" sz="24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𝐸</m:t>
                            </m:r>
                          </m:sub>
                        </m:sSub>
                      </m:num>
                      <m:den>
                        <m:r>
                          <a:rPr lang="en-IN" sz="24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4</m:t>
                        </m:r>
                      </m:den>
                    </m:f>
                  </m:oMath>
                </a14:m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lnSpc>
                    <a:spcPct val="150000"/>
                  </a:lnSpc>
                  <a:buNone/>
                </a:pPr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SE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) = </a:t>
                </a:r>
                <a14:m>
                  <m:oMath xmlns:m="http://schemas.openxmlformats.org/officeDocument/2006/math">
                    <m:rad>
                      <m:radPr>
                        <m:degHide m:val="on"/>
                        <m:ctrlPr>
                          <a:rPr lang="en-IN" sz="240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radPr>
                      <m:deg/>
                      <m:e>
                        <m:f>
                          <m:fPr>
                            <m:ctrlPr>
                              <a:rPr lang="en-IN" sz="2400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fPr>
                          <m:num>
                            <m:sSub>
                              <m:sSubPr>
                                <m:ctrlPr>
                                  <a:rPr lang="en-IN" sz="2400" i="1"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</m:ctrlPr>
                              </m:sSubPr>
                              <m:e>
                                <m:r>
                                  <a:rPr lang="en-IN" sz="2400" i="1"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𝑀𝑆</m:t>
                                </m:r>
                              </m:e>
                              <m:sub>
                                <m:r>
                                  <a:rPr lang="en-IN" sz="2400" i="1">
                                    <a:latin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𝐸</m:t>
                                </m:r>
                              </m:sub>
                            </m:sSub>
                          </m:num>
                          <m:den>
                            <m:r>
                              <a:rPr lang="en-IN" sz="2400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4</m:t>
                            </m:r>
                          </m:den>
                        </m:f>
                      </m:e>
                    </m:rad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=</a:t>
                </a:r>
                <a14:m>
                  <m:oMath xmlns:m="http://schemas.openxmlformats.org/officeDocument/2006/math">
                    <m:rad>
                      <m:radPr>
                        <m:degHide m:val="on"/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radPr>
                      <m:deg/>
                      <m:e>
                        <m:f>
                          <m:fPr>
                            <m:ctrlPr>
                              <a:rPr lang="en-IN" sz="2400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fPr>
                          <m:num>
                            <m:r>
                              <a:rPr lang="en-IN" sz="24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0.0430</m:t>
                            </m:r>
                          </m:num>
                          <m:den>
                            <m:r>
                              <a:rPr lang="en-IN" sz="2400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4</m:t>
                            </m:r>
                          </m:den>
                        </m:f>
                      </m:e>
                    </m:rad>
                    <m:r>
                      <a:rPr lang="en-IN" sz="24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a:rPr lang="en-IN" sz="2400" b="1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𝟎</m:t>
                    </m:r>
                    <m:r>
                      <a:rPr lang="en-IN" sz="2400" b="1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.</m:t>
                    </m:r>
                    <m:r>
                      <a:rPr lang="en-IN" sz="2400" b="1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𝟏</m:t>
                    </m:r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			</a:t>
                </a:r>
                <a:endParaRPr lang="en-IN" sz="24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70340" indent="0" algn="just" latinLnBrk="0">
                  <a:lnSpc>
                    <a:spcPct val="150000"/>
                  </a:lnSpc>
                  <a:buNone/>
                </a:pPr>
                <a:endParaRPr lang="en-IN" sz="24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70340" indent="0" algn="just" latinLnBrk="0">
                  <a:lnSpc>
                    <a:spcPct val="150000"/>
                  </a:lnSpc>
                  <a:buNone/>
                </a:pPr>
                <a:endParaRPr lang="en-IN" sz="24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4" name="Content Placeholder 3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609600" y="692696"/>
                <a:ext cx="10972800" cy="5145436"/>
              </a:xfrm>
              <a:blipFill rotWithShape="0">
                <a:blip r:embed="rId3"/>
                <a:stretch>
                  <a:fillRect l="-833" r="-833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ectangle 5"/>
          <p:cNvSpPr/>
          <p:nvPr/>
        </p:nvSpPr>
        <p:spPr>
          <a:xfrm>
            <a:off x="371364" y="5468800"/>
            <a:ext cx="11557284" cy="830997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th regression coefficients and are large relative to their standard errors. At this point, we have no reason to question the adequacy of the first-order model.</a:t>
            </a:r>
            <a:endParaRPr lang="en-IN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95900" y="3575981"/>
            <a:ext cx="2552700" cy="352425"/>
          </a:xfrm>
          <a:prstGeom prst="rect">
            <a:avLst/>
          </a:prstGeom>
        </p:spPr>
      </p:pic>
      <p:cxnSp>
        <p:nvCxnSpPr>
          <p:cNvPr id="11" name="Straight Arrow Connector 10"/>
          <p:cNvCxnSpPr/>
          <p:nvPr/>
        </p:nvCxnSpPr>
        <p:spPr bwMode="auto">
          <a:xfrm flipV="1">
            <a:off x="4691844" y="3928406"/>
            <a:ext cx="1728192" cy="796738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4" name="Straight Arrow Connector 23"/>
          <p:cNvCxnSpPr/>
          <p:nvPr/>
        </p:nvCxnSpPr>
        <p:spPr bwMode="auto">
          <a:xfrm flipV="1">
            <a:off x="4727848" y="3928406"/>
            <a:ext cx="2484276" cy="868746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511340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6668" y="74044"/>
            <a:ext cx="10349524" cy="431800"/>
          </a:xfrm>
        </p:spPr>
        <p:txBody>
          <a:bodyPr/>
          <a:lstStyle/>
          <a:p>
            <a:r>
              <a:rPr lang="en-IN" sz="3200" b="1" dirty="0">
                <a:latin typeface="Arial" panose="020B0604020202020204" pitchFamily="34" charset="0"/>
                <a:cs typeface="Arial" panose="020B0604020202020204" pitchFamily="34" charset="0"/>
              </a:rPr>
              <a:t>Unit 4 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87388" y="2528900"/>
            <a:ext cx="10782300" cy="77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8473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xample 1 (First-order RSM)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912" y="800708"/>
            <a:ext cx="11306175" cy="169545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53171" y="2496158"/>
            <a:ext cx="8141311" cy="4305211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347749" y="3691351"/>
            <a:ext cx="2376264" cy="1620180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sz="1050" b="1" dirty="0">
              <a:solidFill>
                <a:schemeClr val="tx1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1482627" y="4445579"/>
            <a:ext cx="106507" cy="111724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50" b="1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974916" y="5335713"/>
            <a:ext cx="9589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FF0000"/>
                </a:solidFill>
              </a:rPr>
              <a:t>X1 (Time)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43945" y="3355354"/>
            <a:ext cx="10014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FF0000"/>
                </a:solidFill>
              </a:rPr>
              <a:t>X2 (Temp)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38217" y="4613743"/>
            <a:ext cx="16194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Center point (0,0)</a:t>
            </a:r>
          </a:p>
        </p:txBody>
      </p:sp>
      <p:cxnSp>
        <p:nvCxnSpPr>
          <p:cNvPr id="5" name="Straight Arrow Connector 4"/>
          <p:cNvCxnSpPr/>
          <p:nvPr/>
        </p:nvCxnSpPr>
        <p:spPr bwMode="auto">
          <a:xfrm flipV="1">
            <a:off x="1573536" y="3969060"/>
            <a:ext cx="802760" cy="504059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19" name="Rounded Rectangle 18"/>
          <p:cNvSpPr/>
          <p:nvPr/>
        </p:nvSpPr>
        <p:spPr>
          <a:xfrm>
            <a:off x="3827748" y="5949280"/>
            <a:ext cx="7776864" cy="252028"/>
          </a:xfrm>
          <a:prstGeom prst="roundRect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5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699125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xample 1 (First-order RSM)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692" y="1055214"/>
            <a:ext cx="3453408" cy="381525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5871655" y="2735689"/>
            <a:ext cx="2376264" cy="1620180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sz="1050" b="1" dirty="0">
              <a:solidFill>
                <a:schemeClr val="tx1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7006533" y="3489917"/>
            <a:ext cx="106507" cy="111724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50" b="1" dirty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102836" y="4380051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FF0000"/>
                </a:solidFill>
              </a:rPr>
              <a:t>40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462123" y="3658081"/>
            <a:ext cx="784189" cy="307777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IN" dirty="0"/>
              <a:t>35, 155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832979" y="1055394"/>
            <a:ext cx="2376264" cy="1620180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sz="1050" b="1" dirty="0">
              <a:solidFill>
                <a:schemeClr val="tx1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9967857" y="1809622"/>
            <a:ext cx="106507" cy="111724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50" b="1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9785051" y="1992052"/>
            <a:ext cx="784189" cy="307777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IN" dirty="0"/>
              <a:t>85, 175</a:t>
            </a:r>
          </a:p>
        </p:txBody>
      </p:sp>
      <p:cxnSp>
        <p:nvCxnSpPr>
          <p:cNvPr id="12" name="Straight Arrow Connector 11"/>
          <p:cNvCxnSpPr>
            <a:endCxn id="14" idx="2"/>
          </p:cNvCxnSpPr>
          <p:nvPr/>
        </p:nvCxnSpPr>
        <p:spPr bwMode="auto">
          <a:xfrm flipV="1">
            <a:off x="7097442" y="1865484"/>
            <a:ext cx="2870415" cy="1651974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21" name="TextBox 20"/>
          <p:cNvSpPr txBox="1"/>
          <p:nvPr/>
        </p:nvSpPr>
        <p:spPr>
          <a:xfrm>
            <a:off x="5656721" y="4357020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FF0000"/>
                </a:solidFill>
              </a:rPr>
              <a:t>30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363174" y="2646018"/>
            <a:ext cx="4972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>
                <a:solidFill>
                  <a:srgbClr val="FF0000"/>
                </a:solidFill>
              </a:rPr>
              <a:t>160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408095" y="4073425"/>
            <a:ext cx="4972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>
                <a:solidFill>
                  <a:srgbClr val="FF0000"/>
                </a:solidFill>
              </a:rPr>
              <a:t>150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1087448" y="2581800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FF0000"/>
                </a:solidFill>
              </a:rPr>
              <a:t>90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641333" y="2558769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FF0000"/>
                </a:solidFill>
              </a:rPr>
              <a:t>80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347786" y="847767"/>
            <a:ext cx="4972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>
                <a:solidFill>
                  <a:srgbClr val="FF0000"/>
                </a:solidFill>
              </a:rPr>
              <a:t>180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392707" y="2275174"/>
            <a:ext cx="4972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>
                <a:solidFill>
                  <a:srgbClr val="FF0000"/>
                </a:solidFill>
              </a:rPr>
              <a:t>170</a:t>
            </a:r>
          </a:p>
        </p:txBody>
      </p:sp>
    </p:spTree>
    <p:extLst>
      <p:ext uri="{BB962C8B-B14F-4D97-AF65-F5344CB8AC3E}">
        <p14:creationId xmlns:p14="http://schemas.microsoft.com/office/powerpoint/2010/main" val="45943727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xample 1 (First-order RSM)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740" y="3813410"/>
            <a:ext cx="11382375" cy="1895475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344" y="980728"/>
            <a:ext cx="6286943" cy="232771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/>
              <p:cNvSpPr txBox="1"/>
              <p:nvPr/>
            </p:nvSpPr>
            <p:spPr>
              <a:xfrm>
                <a:off x="672704" y="5708885"/>
                <a:ext cx="4709494" cy="110645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IN" dirty="0">
                    <a:latin typeface="Arial" panose="020B0604020202020204" pitchFamily="34" charset="0"/>
                    <a:cs typeface="Arial" panose="020B0604020202020204" pitchFamily="34" charset="0"/>
                  </a:rPr>
                  <a:t>78.97 = Average of all Y observation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IN" dirty="0">
                    <a:latin typeface="Arial" panose="020B0604020202020204" pitchFamily="34" charset="0"/>
                    <a:cs typeface="Arial" panose="020B0604020202020204" pitchFamily="34" charset="0"/>
                  </a:rPr>
                  <a:t>)…</a:t>
                </a:r>
              </a:p>
              <a:p>
                <a:endParaRPr lang="en-IN" sz="1000" dirty="0"/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IN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 </m:t>
                        </m:r>
                      </m:sub>
                    </m:sSub>
                    <m:r>
                      <a:rPr lang="en-IN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 </m:t>
                    </m:r>
                    <m:f>
                      <m:fPr>
                        <m:ctrlPr>
                          <a:rPr lang="en-IN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IN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num>
                      <m:den>
                        <m:r>
                          <a:rPr lang="en-IN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den>
                    </m:f>
                    <m:r>
                      <a:rPr lang="en-IN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(</m:t>
                    </m:r>
                    <m:r>
                      <a:rPr lang="en-IN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𝐸𝑓𝑓𝑒𝑐𝑡</m:t>
                    </m:r>
                    <m:r>
                      <a:rPr lang="en-IN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  <m:r>
                      <a:rPr lang="en-IN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𝑜𝑓</m:t>
                    </m:r>
                    <m:r>
                      <a:rPr lang="en-IN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  <m:r>
                      <a:rPr lang="en-IN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𝑋</m:t>
                    </m:r>
                    <m:r>
                      <a:rPr lang="en-IN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1)</m:t>
                    </m:r>
                  </m:oMath>
                </a14:m>
                <a:r>
                  <a:rPr lang="en-IN" dirty="0"/>
                  <a:t> =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num>
                      <m:den>
                        <m: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den>
                    </m:f>
                    <m:r>
                      <a:rPr lang="en-IN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(</m:t>
                    </m:r>
                    <m:d>
                      <m:dPr>
                        <m:ctrlP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IN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fPr>
                          <m:num>
                            <m:r>
                              <a:rPr lang="en-IN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78+79.5</m:t>
                            </m:r>
                          </m:num>
                          <m:den>
                            <m:r>
                              <a:rPr lang="en-IN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2</m:t>
                            </m:r>
                          </m:den>
                        </m:f>
                      </m:e>
                    </m:d>
                    <m:r>
                      <a:rPr lang="en-IN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(</m:t>
                    </m:r>
                    <m:f>
                      <m:fPr>
                        <m:ctrlPr>
                          <a:rPr lang="en-IN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IN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76.5+77</m:t>
                        </m:r>
                      </m:num>
                      <m:den>
                        <m:r>
                          <a:rPr lang="en-IN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den>
                    </m:f>
                    <m:r>
                      <a:rPr lang="en-IN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)</m:t>
                    </m:r>
                    <m:r>
                      <a:rPr lang="en-IN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)</m:t>
                    </m:r>
                  </m:oMath>
                </a14:m>
                <a:r>
                  <a:rPr lang="en-IN" dirty="0"/>
                  <a:t> = 1 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IN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  <m:r>
                          <a:rPr lang="en-IN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 </m:t>
                        </m:r>
                      </m:sub>
                    </m:sSub>
                    <m:r>
                      <a:rPr lang="en-IN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 </m:t>
                    </m:r>
                    <m:f>
                      <m:fPr>
                        <m:ctrlP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num>
                      <m:den>
                        <m: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den>
                    </m:f>
                    <m:r>
                      <a:rPr lang="en-IN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(</m:t>
                    </m:r>
                    <m:r>
                      <a:rPr lang="en-IN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𝐸𝑓𝑓𝑒𝑐𝑡</m:t>
                    </m:r>
                    <m:r>
                      <a:rPr lang="en-IN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  <m:r>
                      <a:rPr lang="en-IN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𝑜𝑓</m:t>
                    </m:r>
                    <m:r>
                      <a:rPr lang="en-IN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  <m:r>
                      <a:rPr lang="en-IN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𝑋</m:t>
                    </m:r>
                    <m:r>
                      <a:rPr lang="en-IN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2</m:t>
                    </m:r>
                    <m:r>
                      <a:rPr lang="en-IN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)</m:t>
                    </m:r>
                  </m:oMath>
                </a14:m>
                <a:r>
                  <a:rPr lang="en-IN" dirty="0"/>
                  <a:t>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num>
                      <m:den>
                        <m: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den>
                    </m:f>
                    <m:r>
                      <a:rPr lang="en-IN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(</m:t>
                    </m:r>
                    <m:d>
                      <m:dPr>
                        <m:ctrlP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IN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fPr>
                          <m:num>
                            <m:r>
                              <a:rPr lang="en-IN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77+79.</m:t>
                            </m:r>
                            <m:r>
                              <a:rPr lang="en-IN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5</m:t>
                            </m:r>
                          </m:num>
                          <m:den>
                            <m:r>
                              <a:rPr lang="en-IN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2</m:t>
                            </m:r>
                          </m:den>
                        </m:f>
                      </m:e>
                    </m:d>
                    <m:r>
                      <a:rPr lang="en-IN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(</m:t>
                    </m:r>
                    <m:f>
                      <m:fPr>
                        <m:ctrlP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3</m:t>
                        </m:r>
                        <m:r>
                          <a:rPr lang="en-IN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76.5+78</m:t>
                        </m:r>
                      </m:num>
                      <m:den>
                        <m:r>
                          <a:rPr lang="en-IN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den>
                    </m:f>
                    <m:r>
                      <a:rPr lang="en-IN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))</m:t>
                    </m:r>
                  </m:oMath>
                </a14:m>
                <a:r>
                  <a:rPr lang="en-IN" dirty="0"/>
                  <a:t> = 0.5 </a:t>
                </a:r>
              </a:p>
            </p:txBody>
          </p:sp>
        </mc:Choice>
        <mc:Fallback xmlns="">
          <p:sp>
            <p:nvSpPr>
              <p:cNvPr id="24" name="TextBox 2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2704" y="5708885"/>
                <a:ext cx="4709494" cy="1106457"/>
              </a:xfrm>
              <a:prstGeom prst="rect">
                <a:avLst/>
              </a:prstGeom>
              <a:blipFill rotWithShape="0">
                <a:blip r:embed="rId5"/>
                <a:stretch>
                  <a:fillRect l="-388" t="-549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0" name="Picture 2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91398" y="836712"/>
            <a:ext cx="4998368" cy="2842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11984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xample 1 (First-order RSM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344" y="2198606"/>
            <a:ext cx="11829453" cy="464451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7428" y="857653"/>
            <a:ext cx="10106025" cy="1076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66515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Analysis of a Second-Order Response Surfac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340" y="1132168"/>
            <a:ext cx="11837958" cy="3564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55348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Analysis of a Second-Order Response Surfac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8602" y="837027"/>
            <a:ext cx="10693188" cy="201534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8602" y="2780928"/>
            <a:ext cx="10684402" cy="3032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01885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Analysis of a Second-Order Response Surfac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3075" y="836712"/>
            <a:ext cx="8705850" cy="573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50338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Analysis of a Second-Order Response Surfac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2487" y="619125"/>
            <a:ext cx="10487025" cy="5619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87264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Analysis of a Second-Order Response Surfac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450" y="704850"/>
            <a:ext cx="10325100" cy="544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7536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Analysis of a Second-Order Response Surfac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7237" y="728700"/>
            <a:ext cx="10677525" cy="5743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9420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6668" y="74044"/>
            <a:ext cx="10349524" cy="431800"/>
          </a:xfrm>
        </p:spPr>
        <p:txBody>
          <a:bodyPr/>
          <a:lstStyle/>
          <a:p>
            <a:pPr marL="0" indent="0" algn="just" eaLnBrk="1" latinLnBrk="0">
              <a:lnSpc>
                <a:spcPct val="150000"/>
              </a:lnSpc>
              <a:buNone/>
            </a:pPr>
            <a:r>
              <a:rPr lang="en-IN" dirty="0">
                <a:ea typeface="Verdana" panose="020B0604030504040204" pitchFamily="34" charset="0"/>
              </a:rPr>
              <a:t>Assumptions of Linearity in two-level desig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6665" y="836712"/>
            <a:ext cx="10961943" cy="4788532"/>
          </a:xfrm>
        </p:spPr>
        <p:txBody>
          <a:bodyPr/>
          <a:lstStyle/>
          <a:p>
            <a:pPr algn="just" eaLnBrk="1" latinLnBrk="0">
              <a:lnSpc>
                <a:spcPct val="150000"/>
              </a:lnSpc>
            </a:pPr>
            <a:r>
              <a:rPr lang="en-US" sz="2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n general, significant proportion of experiments are performed with two-level factorials.</a:t>
            </a:r>
          </a:p>
          <a:p>
            <a:pPr algn="just" eaLnBrk="1" latinLnBrk="0">
              <a:lnSpc>
                <a:spcPct val="150000"/>
              </a:lnSpc>
            </a:pPr>
            <a:r>
              <a:rPr lang="en-US" sz="2400" b="1" dirty="0">
                <a:solidFill>
                  <a:srgbClr val="00B05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wo-level full factorial designs with k factors are denoted as 2</a:t>
            </a:r>
            <a:r>
              <a:rPr lang="en-US" sz="2400" b="1" baseline="30000" dirty="0">
                <a:solidFill>
                  <a:srgbClr val="00B05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k</a:t>
            </a:r>
            <a:endParaRPr lang="en-US" sz="2400" b="1" baseline="3000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latinLnBrk="0">
              <a:lnSpc>
                <a:spcPct val="150000"/>
              </a:lnSpc>
            </a:pPr>
            <a:r>
              <a:rPr lang="en-US" sz="2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ese models assume linear response</a:t>
            </a:r>
          </a:p>
          <a:p>
            <a:pPr algn="just" eaLnBrk="1" latinLnBrk="0">
              <a:lnSpc>
                <a:spcPct val="150000"/>
              </a:lnSpc>
            </a:pPr>
            <a:r>
              <a:rPr lang="en-US" sz="2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For example, linear regression model of 2</a:t>
            </a:r>
            <a:r>
              <a:rPr lang="en-US" sz="2400" baseline="30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</a:t>
            </a:r>
            <a:r>
              <a:rPr lang="en-US" sz="2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design is:</a:t>
            </a:r>
          </a:p>
          <a:p>
            <a:pPr marL="0" indent="0" algn="just" eaLnBrk="1" latinLnBrk="0">
              <a:lnSpc>
                <a:spcPct val="150000"/>
              </a:lnSpc>
              <a:buNone/>
            </a:pPr>
            <a:endParaRPr lang="en-US" sz="2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A1F380A-9160-BA4E-1612-3BE04C197E05}"/>
                  </a:ext>
                </a:extLst>
              </p:cNvPr>
              <p:cNvSpPr txBox="1"/>
              <p:nvPr/>
            </p:nvSpPr>
            <p:spPr>
              <a:xfrm>
                <a:off x="2927648" y="4401108"/>
                <a:ext cx="6116320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en-IN" sz="320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accPr>
                        <m:e>
                          <m:r>
                            <a:rPr lang="en-IN" sz="3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𝑦</m:t>
                          </m:r>
                        </m:e>
                      </m:acc>
                      <m:r>
                        <a:rPr lang="en-IN" sz="32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 </m:t>
                      </m:r>
                      <m:sSub>
                        <m:sSubPr>
                          <m:ctrlPr>
                            <a:rPr lang="en-IN" sz="3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3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𝛽</m:t>
                          </m:r>
                        </m:e>
                        <m:sub>
                          <m:r>
                            <a:rPr lang="en-IN" sz="32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0</m:t>
                          </m:r>
                        </m:sub>
                      </m:sSub>
                      <m:r>
                        <a:rPr lang="en-IN" sz="32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+</m:t>
                      </m:r>
                      <m:sSub>
                        <m:sSubPr>
                          <m:ctrlPr>
                            <a:rPr lang="en-IN" sz="32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3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𝛽</m:t>
                          </m:r>
                        </m:e>
                        <m:sub>
                          <m:r>
                            <a:rPr lang="en-IN" sz="3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IN" sz="32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3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3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IN" sz="3200" b="0" i="0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+</m:t>
                      </m:r>
                      <m:sSub>
                        <m:sSubPr>
                          <m:ctrlPr>
                            <a:rPr lang="en-IN" sz="32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3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𝛽</m:t>
                          </m:r>
                        </m:e>
                        <m:sub>
                          <m:r>
                            <a:rPr lang="en-IN" sz="3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n-IN" sz="320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3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3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b>
                      </m:sSub>
                      <m:r>
                        <a:rPr lang="en-IN" sz="3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anose="020B0604020202020204" pitchFamily="34" charset="0"/>
                        </a:rPr>
                        <m:t>+</m:t>
                      </m:r>
                      <m:sSub>
                        <m:sSubPr>
                          <m:ctrlPr>
                            <a:rPr lang="en-IN" sz="32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3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𝛽</m:t>
                          </m:r>
                        </m:e>
                        <m:sub>
                          <m:r>
                            <a:rPr lang="en-IN" sz="3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  <m:r>
                            <a:rPr lang="en-IN" sz="3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n-IN" sz="32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3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3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IN" sz="32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3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3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IN" sz="32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A1F380A-9160-BA4E-1612-3BE04C197E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7648" y="4401108"/>
                <a:ext cx="6116320" cy="58477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88168206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xample for Second-Order Response Surface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Content Placeholder 3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marL="0" indent="0" algn="just" latinLnBrk="0">
                  <a:buNone/>
                </a:pPr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Response surface for certain manufacturing process was defined by the given equation(</a:t>
                </a:r>
                <a14:m>
                  <m:oMath xmlns:m="http://schemas.openxmlformats.org/officeDocument/2006/math"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𝑍</m:t>
                    </m:r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17</m:t>
                    </m:r>
                    <m:sSub>
                      <m:sSub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27</m:t>
                    </m:r>
                    <m:sSub>
                      <m:sSub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</m:t>
                    </m:r>
                    <m:sSubSup>
                      <m:sSubSup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  <m:sup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bSup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0.9</m:t>
                    </m:r>
                    <m:sSubSup>
                      <m:sSubSup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  <m:sup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). Determine the approximate optimum operating point using the method of steepest ascent. The starting point of research should be X1=2 and X2=3 and step size C=4.</a:t>
                </a:r>
              </a:p>
              <a:p>
                <a:pPr marL="0" indent="0" algn="just" latinLnBrk="0">
                  <a:buNone/>
                </a:pPr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𝑍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17</m:t>
                      </m:r>
                      <m:sSub>
                        <m:sSubPr>
                          <m:ctrlPr>
                            <a:rPr lang="en-IN" sz="24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+27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b>
                      </m:sSub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−</m:t>
                      </m:r>
                      <m:sSubSup>
                        <m:sSubSupPr>
                          <m:ctrlPr>
                            <a:rPr lang="en-IN" sz="24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SupPr>
                        <m:e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  <m:sup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p>
                      </m:sSubSup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−0.9</m:t>
                      </m:r>
                      <m:sSubSup>
                        <m:sSubSup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Sup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b>
                        <m:sup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Step size = 4.0</a:t>
                </a: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2;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b>
                      </m:sSub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3</m:t>
                      </m:r>
                    </m:oMath>
                  </m:oMathPara>
                </a14:m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 xmlns:m="http://schemas.openxmlformats.org/officeDocument/2006/math"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𝑍</m:t>
                    </m:r>
                    <m:r>
                      <a:rPr lang="en-IN" sz="24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(2,3)=</m:t>
                    </m:r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17</m:t>
                    </m:r>
                    <m:sSub>
                      <m:sSub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27</m:t>
                    </m:r>
                    <m:sSub>
                      <m:sSub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</m:t>
                    </m:r>
                    <m:sSubSup>
                      <m:sSubSup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  <m:sup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bSup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0.9</m:t>
                    </m:r>
                    <m:sSubSup>
                      <m:sSubSup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  <m:sup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= </a:t>
                </a:r>
                <a14:m>
                  <m:oMath xmlns:m="http://schemas.openxmlformats.org/officeDocument/2006/math"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17</m:t>
                    </m:r>
                    <m:r>
                      <a:rPr lang="en-IN" sz="24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(2)+</m:t>
                    </m:r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27</m:t>
                    </m:r>
                    <m:r>
                      <a:rPr lang="en-IN" sz="24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(3)−</m:t>
                    </m:r>
                    <m:sSubSup>
                      <m:sSubSup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e>
                      <m:sub/>
                      <m:sup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bSup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0.9</m:t>
                    </m:r>
                    <m:sSubSup>
                      <m:sSubSup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(3</m:t>
                        </m:r>
                      </m:e>
                      <m:sub/>
                      <m:sup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bSup>
                    <m:r>
                      <a:rPr lang="en-IN" sz="24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)=102.9</m:t>
                    </m:r>
                  </m:oMath>
                </a14:m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𝐺𝑟𝑎𝑑𝑖𝑒𝑛𝑡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 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𝑜𝑓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𝐺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1.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𝑃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. = </m:t>
                      </m:r>
                      <m:f>
                        <m:fPr>
                          <m:ctrlPr>
                            <a:rPr lang="en-IN" sz="24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IN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𝜕</m:t>
                          </m:r>
                          <m:r>
                            <a:rPr lang="en-IN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𝑧</m:t>
                          </m:r>
                        </m:num>
                        <m:den>
                          <m:r>
                            <a:rPr lang="en-IN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𝜕</m:t>
                          </m:r>
                          <m:sSub>
                            <m:sSubPr>
                              <m:ctrlPr>
                                <a:rPr lang="en-IN" sz="2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IN" sz="2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IN" sz="2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1</m:t>
                              </m:r>
                            </m:sub>
                          </m:sSub>
                        </m:den>
                      </m:f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17−2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𝐺𝑟𝑎𝑑𝑖𝑒𝑛𝑡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 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𝑜𝑓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b>
                      </m:sSub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𝐺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2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.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𝑃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. = </m:t>
                      </m:r>
                      <m:f>
                        <m:f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IN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𝜕</m:t>
                          </m:r>
                          <m:r>
                            <a:rPr lang="en-IN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𝑧</m:t>
                          </m:r>
                        </m:num>
                        <m:den>
                          <m:r>
                            <a:rPr lang="en-IN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𝜕</m:t>
                          </m:r>
                          <m:sSub>
                            <m:sSubPr>
                              <m:ctrlPr>
                                <a:rPr lang="en-IN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IN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IN" sz="2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2</m:t>
                              </m:r>
                            </m:sub>
                          </m:sSub>
                        </m:den>
                      </m:f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2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7−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1.8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4" name="Content Placeholder 3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3"/>
                <a:stretch>
                  <a:fillRect l="-833" t="-829" r="-833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84764007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xample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Content Placeholder 3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𝑀𝑎𝑔𝑛𝑖𝑡𝑢𝑑𝑒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 </m:t>
                      </m:r>
                      <m:sSub>
                        <m:sSubPr>
                          <m:ctrlPr>
                            <a:rPr lang="en-IN" sz="240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𝑚</m:t>
                          </m:r>
                        </m:e>
                        <m:sub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en-IN" sz="2400" b="0" i="0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Sqrt</m:t>
                      </m:r>
                      <m:r>
                        <a:rPr lang="en-IN" sz="2400" b="0" i="0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 ((</m:t>
                      </m:r>
                      <m:r>
                        <m:rPr>
                          <m:sty m:val="p"/>
                        </m:rPr>
                        <a:rPr lang="en-IN" sz="2400" b="0" i="0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G</m:t>
                      </m:r>
                      <m:r>
                        <a:rPr lang="en-IN" sz="2400" b="0" i="0" baseline="-25000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1</m:t>
                      </m:r>
                      <m:sSup>
                        <m:sSupPr>
                          <m:ctrlPr>
                            <a:rPr lang="en-IN" sz="24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en-IN" sz="2400" b="0" i="0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P</m:t>
                          </m:r>
                          <m:r>
                            <a:rPr lang="en-IN" sz="2400" b="0" i="0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)</m:t>
                          </m:r>
                        </m:e>
                        <m:sup>
                          <m:r>
                            <a:rPr lang="en-IN" sz="2400" b="0" i="0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p>
                      </m:sSup>
                      <m:r>
                        <a:rPr lang="en-IN" sz="2400" b="0" i="0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+(</m:t>
                      </m:r>
                      <m:r>
                        <m:rPr>
                          <m:sty m:val="p"/>
                        </m:rPr>
                        <a:rPr lang="en-IN" sz="2400" b="0" i="0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G</m:t>
                      </m:r>
                      <m:r>
                        <a:rPr lang="en-IN" sz="2400" b="0" i="0" baseline="-25000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2</m:t>
                      </m:r>
                      <m:sSup>
                        <m:sSupPr>
                          <m:ctrlPr>
                            <a:rPr lang="en-IN" sz="24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en-IN" sz="2400" b="0" i="0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P</m:t>
                          </m:r>
                          <m:r>
                            <a:rPr lang="en-IN" sz="2400" b="0" i="0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)</m:t>
                          </m:r>
                        </m:e>
                        <m:sup>
                          <m:r>
                            <a:rPr lang="en-IN" sz="2400" b="0" i="0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p>
                      </m:sSup>
                      <m:r>
                        <a:rPr lang="en-IN" sz="2400" b="0" i="0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)</m:t>
                      </m:r>
                    </m:oMath>
                  </m:oMathPara>
                </a14:m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𝐺</m:t>
                      </m:r>
                      <m:r>
                        <a:rPr lang="en-IN" sz="2400" b="0" i="1" baseline="-25000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1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𝑃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 17−2</m:t>
                      </m:r>
                      <m:sSub>
                        <m:sSubPr>
                          <m:ctrlPr>
                            <a:rPr lang="en-IN" sz="240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, 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𝑤h𝑒𝑟𝑒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 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2</m:t>
                      </m:r>
                    </m:oMath>
                  </m:oMathPara>
                </a14:m>
                <a:endParaRPr lang="en-IN" sz="2400" dirty="0"/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𝐺</m:t>
                      </m:r>
                      <m:r>
                        <a:rPr lang="en-IN" sz="2400" i="1" baseline="-250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1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𝑃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13</m:t>
                      </m:r>
                    </m:oMath>
                  </m:oMathPara>
                </a14:m>
                <a:endParaRPr lang="en-IN" sz="2400" dirty="0"/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𝐺</m:t>
                      </m:r>
                      <m:r>
                        <a:rPr lang="en-IN" sz="2400" b="0" i="1" baseline="-25000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2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𝑃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27−1.8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b>
                      </m:sSub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, 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𝑤h𝑒𝑟𝑒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 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b="0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b>
                      </m:sSub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3</m:t>
                      </m:r>
                    </m:oMath>
                  </m:oMathPara>
                </a14:m>
                <a:endParaRPr lang="en-IN" sz="2400" dirty="0"/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𝐺</m:t>
                      </m:r>
                      <m:r>
                        <a:rPr lang="en-IN" sz="2400" b="0" i="1" baseline="-25000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2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𝑃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21.6</m:t>
                      </m:r>
                    </m:oMath>
                  </m:oMathPara>
                </a14:m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Hence, </a:t>
                </a:r>
                <a14:m>
                  <m:oMath xmlns:m="http://schemas.openxmlformats.org/officeDocument/2006/math"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𝑀𝑎𝑔𝑛𝑖𝑡𝑢</m:t>
                    </m:r>
                    <m:r>
                      <a:rPr lang="en-IN" sz="24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𝑑</m:t>
                    </m:r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𝑒</m:t>
                    </m:r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  <m:sSub>
                      <m:sSub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𝑚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a:rPr lang="en-IN" sz="24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25.2</m:t>
                    </m:r>
                  </m:oMath>
                </a14:m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New, x1 and x2..i.e.,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IN" sz="2400" i="1" dirty="0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b="0" i="1" dirty="0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b="0" i="1" dirty="0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  <m:sup>
                        <m:r>
                          <a:rPr lang="en-IN" sz="2400" b="0" i="1" dirty="0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′</m:t>
                        </m:r>
                      </m:sup>
                    </m:sSubSup>
                    <m:r>
                      <a:rPr lang="en-IN" sz="2400" b="0" i="1" dirty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𝑎𝑛𝑑</m:t>
                    </m:r>
                    <m:sSubSup>
                      <m:sSubSup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b="0" i="1" dirty="0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  <m:sup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′</m:t>
                        </m:r>
                      </m:sup>
                    </m:sSubSup>
                  </m:oMath>
                </a14:m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  <m:sup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  <m:sup/>
                    </m:sSubSup>
                    <m:r>
                      <a:rPr lang="en-IN" sz="2400" b="0" i="1" dirty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r>
                      <a:rPr lang="en-IN" sz="2400" b="0" i="1" dirty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𝐶</m:t>
                    </m:r>
                    <m:d>
                      <m:dPr>
                        <m:ctrlPr>
                          <a:rPr lang="en-IN" sz="2400" b="0" i="1" dirty="0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IN" sz="2400" b="0" i="1" dirty="0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fPr>
                          <m:num>
                            <m:r>
                              <a:rPr lang="en-IN" sz="2400" b="0" i="1" dirty="0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𝐺</m:t>
                            </m:r>
                            <m:r>
                              <a:rPr lang="en-IN" sz="2400" b="0" i="1" baseline="-25000" dirty="0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1</m:t>
                            </m:r>
                            <m:r>
                              <a:rPr lang="en-IN" sz="2400" b="0" i="1" dirty="0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𝑃</m:t>
                            </m:r>
                          </m:num>
                          <m:den>
                            <m:r>
                              <a:rPr lang="en-IN" sz="2400" b="0" i="1" dirty="0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𝑚</m:t>
                            </m:r>
                          </m:den>
                        </m:f>
                      </m:e>
                    </m:d>
                    <m:r>
                      <a:rPr lang="en-IN" sz="2400" b="0" i="0" dirty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4.063</m:t>
                    </m:r>
                  </m:oMath>
                </a14:m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b="0" i="1" dirty="0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  <m:sup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b="0" i="1" dirty="0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  <m:sup/>
                    </m:sSubSup>
                    <m:r>
                      <a:rPr lang="en-IN" sz="24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r>
                      <a:rPr lang="en-IN" sz="24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𝐶</m:t>
                    </m:r>
                    <m:d>
                      <m:d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fPr>
                          <m:num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𝐺</m:t>
                            </m:r>
                            <m:r>
                              <a:rPr lang="en-IN" sz="2400" b="0" i="1" baseline="-25000" dirty="0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2</m:t>
                            </m:r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𝑃</m:t>
                            </m:r>
                          </m:num>
                          <m:den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𝑚</m:t>
                            </m:r>
                          </m:den>
                        </m:f>
                      </m:e>
                    </m:d>
                    <m:r>
                      <a:rPr lang="en-IN" sz="2400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a:rPr lang="en-IN" sz="2400" b="0" i="0" dirty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6.43</m:t>
                    </m:r>
                  </m:oMath>
                </a14:m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4" name="Content Placeholder 3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3"/>
                <a:stretch>
                  <a:fillRect l="-833" b="-6517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1404045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xample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Content Placeholder 3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marL="0" indent="0" algn="just" latinLnBrk="0">
                  <a:buNone/>
                </a:pPr>
                <a14:m>
                  <m:oMath xmlns:m="http://schemas.openxmlformats.org/officeDocument/2006/math">
                    <m:r>
                      <a:rPr lang="en-IN" sz="24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𝑇h𝑒𝑛</m:t>
                    </m:r>
                    <m:r>
                      <a:rPr lang="en-IN" sz="24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, </m:t>
                    </m:r>
                    <m:r>
                      <a:rPr lang="en-IN" sz="24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𝑍</m:t>
                    </m:r>
                    <m:d>
                      <m:dPr>
                        <m:ctrlPr>
                          <a:rPr lang="en-IN" sz="24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SupPr>
                          <m:e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1</m:t>
                            </m:r>
                          </m:sub>
                          <m:sup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′</m:t>
                            </m:r>
                          </m:sup>
                        </m:sSubSup>
                        <m:r>
                          <a:rPr lang="en-IN" sz="2400" b="0" i="1" dirty="0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,</m:t>
                        </m:r>
                        <m:sSubSup>
                          <m:sSubSupPr>
                            <m:ctrlP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SupPr>
                          <m:e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IN" sz="2400" b="0" i="1" dirty="0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2</m:t>
                            </m:r>
                          </m:sub>
                          <m:sup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′</m:t>
                            </m:r>
                          </m:sup>
                        </m:sSubSup>
                      </m:e>
                    </m:d>
                    <m:r>
                      <a:rPr lang="en-IN" sz="2400" b="0" i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m:rPr>
                        <m:sty m:val="p"/>
                      </m:rPr>
                      <a:rPr lang="en-IN" sz="2400" b="0" i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Z</m:t>
                    </m:r>
                    <m:d>
                      <m:dPr>
                        <m:ctrlPr>
                          <a:rPr lang="en-IN" sz="24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r>
                          <a:rPr lang="en-IN" sz="2400" b="0" i="0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4.063, 6.43</m:t>
                        </m:r>
                      </m:e>
                    </m:d>
                    <m:r>
                      <a:rPr lang="en-IN" sz="2400" b="0" i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17</m:t>
                    </m:r>
                    <m:sSub>
                      <m:sSub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27</m:t>
                    </m:r>
                    <m:sSub>
                      <m:sSub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</m:t>
                    </m:r>
                    <m:sSubSup>
                      <m:sSubSup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  <m:sup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bSup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0.9</m:t>
                    </m:r>
                    <m:sSubSup>
                      <m:sSubSup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  <m:sup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= 188.981</a:t>
                </a: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𝐺</m:t>
                      </m:r>
                      <m:r>
                        <a:rPr lang="en-IN" sz="2400" i="1" baseline="-250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1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𝑃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 17−2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, 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𝑤h𝑒𝑟𝑒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 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4.063 </m:t>
                      </m:r>
                    </m:oMath>
                  </m:oMathPara>
                </a14:m>
                <a:endParaRPr lang="en-IN" sz="2400" b="0" i="1" dirty="0"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𝐺</m:t>
                      </m:r>
                      <m:r>
                        <a:rPr lang="en-IN" sz="2400" i="1" baseline="-250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1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𝑃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8.874</m:t>
                      </m:r>
                    </m:oMath>
                  </m:oMathPara>
                </a14:m>
                <a:endParaRPr lang="en-IN" sz="2400" b="0" i="1" dirty="0"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𝐺</m:t>
                      </m:r>
                      <m:r>
                        <a:rPr lang="en-IN" sz="2400" i="1" baseline="-250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2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𝑃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27−1.8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, 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𝑤h𝑒𝑟𝑒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 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b>
                      </m:sSub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6.43</m:t>
                      </m:r>
                    </m:oMath>
                  </m:oMathPara>
                </a14:m>
                <a:endParaRPr lang="en-IN" sz="2400" dirty="0"/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𝐺</m:t>
                      </m:r>
                      <m:r>
                        <a:rPr lang="en-IN" sz="2400" i="1" baseline="-250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2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𝑃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15.426</m:t>
                      </m:r>
                    </m:oMath>
                  </m:oMathPara>
                </a14:m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𝑀𝑎𝑔𝑛𝑖𝑡𝑢𝑑𝑒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 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𝑚</m:t>
                          </m:r>
                        </m:e>
                        <m:sub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en-IN" sz="24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Sqrt</m:t>
                      </m:r>
                      <m:r>
                        <a:rPr lang="en-IN" sz="24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 ((</m:t>
                      </m:r>
                      <m:r>
                        <m:rPr>
                          <m:sty m:val="p"/>
                        </m:rPr>
                        <a:rPr lang="en-IN" sz="24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G</m:t>
                      </m:r>
                      <m:r>
                        <a:rPr lang="en-IN" sz="2400" baseline="-250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1</m:t>
                      </m:r>
                      <m:sSup>
                        <m:sSup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en-IN" sz="240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P</m:t>
                          </m:r>
                          <m:r>
                            <a:rPr lang="en-IN" sz="240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)</m:t>
                          </m:r>
                        </m:e>
                        <m:sup>
                          <m:r>
                            <a:rPr lang="en-IN" sz="240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p>
                      </m:sSup>
                      <m:r>
                        <a:rPr lang="en-IN" sz="24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+</m:t>
                      </m:r>
                      <m:d>
                        <m:d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IN" sz="240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G</m:t>
                          </m:r>
                          <m:r>
                            <a:rPr lang="en-IN" sz="2400" baseline="-2500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  <m:sSup>
                            <m:sSupPr>
                              <m:ctrlPr>
                                <a:rPr lang="en-IN" sz="2400" i="1"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pPr>
                            <m:e>
                              <m:r>
                                <m:rPr>
                                  <m:sty m:val="p"/>
                                </m:rPr>
                                <a:rPr lang="en-IN" sz="2400"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P</m:t>
                              </m:r>
                              <m:r>
                                <a:rPr lang="en-IN" sz="2400"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)</m:t>
                              </m:r>
                            </m:e>
                            <m:sup>
                              <m:r>
                                <a:rPr lang="en-IN" sz="2400"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17.79</m:t>
                      </m:r>
                    </m:oMath>
                  </m:oMathPara>
                </a14:m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New, x1 and x2..i.e.,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  <m:sup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′</m:t>
                        </m:r>
                      </m:sup>
                    </m:sSubSup>
                    <m:r>
                      <a:rPr lang="en-IN" sz="24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𝑎𝑛𝑑</m:t>
                    </m:r>
                    <m:sSubSup>
                      <m:sSubSup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  <m:sup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′</m:t>
                        </m:r>
                      </m:sup>
                    </m:sSubSup>
                  </m:oMath>
                </a14:m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 xmlns:m="http://schemas.openxmlformats.org/officeDocument/2006/math">
                    <m:r>
                      <a:rPr lang="en-IN" sz="2400" b="0" i="1" dirty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𝑁𝑒𝑤</m:t>
                    </m:r>
                    <m:r>
                      <a:rPr lang="en-IN" sz="2400" b="0" i="1" dirty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  <m:sSubSup>
                      <m:sSubSup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 dirty="0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  <m:sup/>
                    </m:sSubSup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  <m:sup/>
                    </m:sSubSup>
                    <m:r>
                      <a:rPr lang="en-IN" sz="24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r>
                      <a:rPr lang="en-IN" sz="24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𝐶</m:t>
                    </m:r>
                    <m:d>
                      <m:d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fPr>
                          <m:num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𝐺</m:t>
                            </m:r>
                            <m:r>
                              <a:rPr lang="en-IN" sz="2400" i="1" baseline="-25000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1</m:t>
                            </m:r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𝑃</m:t>
                            </m:r>
                          </m:num>
                          <m:den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𝑚</m:t>
                            </m:r>
                          </m:den>
                        </m:f>
                      </m:e>
                    </m:d>
                    <m:r>
                      <a:rPr lang="en-IN" sz="2400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a:rPr lang="en-IN" sz="2400" b="0" i="0" dirty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6</m:t>
                    </m:r>
                    <m:r>
                      <a:rPr lang="en-IN" sz="2400" b="0" i="1" dirty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.06</m:t>
                    </m:r>
                  </m:oMath>
                </a14:m>
                <a:endParaRPr lang="en-IN" sz="2400" b="0" i="1" dirty="0"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b="0" i="1" dirty="0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𝑁𝑒𝑤</m:t>
                        </m:r>
                        <m:r>
                          <a:rPr lang="en-IN" sz="2400" b="0" i="1" dirty="0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  </m:t>
                        </m:r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  <m:sup/>
                    </m:sSubSup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  <m:sup/>
                    </m:sSubSup>
                    <m:r>
                      <a:rPr lang="en-IN" sz="24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r>
                      <a:rPr lang="en-IN" sz="24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𝐶</m:t>
                    </m:r>
                    <m:d>
                      <m:d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fPr>
                          <m:num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𝐺</m:t>
                            </m:r>
                            <m:r>
                              <a:rPr lang="en-IN" sz="2400" i="1" baseline="-25000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2</m:t>
                            </m:r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𝑃</m:t>
                            </m:r>
                          </m:num>
                          <m:den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𝑚</m:t>
                            </m:r>
                          </m:den>
                        </m:f>
                      </m:e>
                    </m:d>
                    <m:r>
                      <a:rPr lang="en-IN" sz="2400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a:rPr lang="en-IN" sz="2400" b="0" i="0" dirty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9.89</m:t>
                    </m:r>
                  </m:oMath>
                </a14:m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 xmlns:m="http://schemas.openxmlformats.org/officeDocument/2006/math"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𝑇h𝑒𝑛</m:t>
                    </m:r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, </m:t>
                    </m:r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𝑍</m:t>
                    </m:r>
                    <m:d>
                      <m:d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SupPr>
                          <m:e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1</m:t>
                            </m:r>
                          </m:sub>
                          <m:sup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′</m:t>
                            </m:r>
                          </m:sup>
                        </m:sSubSup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,</m:t>
                        </m:r>
                        <m:sSubSup>
                          <m:sSubSupPr>
                            <m:ctrlP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SupPr>
                          <m:e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2</m:t>
                            </m:r>
                          </m:sub>
                          <m:sup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′</m:t>
                            </m:r>
                          </m:sup>
                        </m:sSubSup>
                      </m:e>
                    </m:d>
                    <m:r>
                      <a:rPr lang="en-IN" sz="240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m:rPr>
                        <m:sty m:val="p"/>
                      </m:rPr>
                      <a:rPr lang="en-IN" sz="240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Z</m:t>
                    </m:r>
                    <m:d>
                      <m:d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r>
                          <a:rPr lang="en-IN" sz="2400" b="0" i="0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6.06, 9.89</m:t>
                        </m:r>
                      </m:e>
                    </m:d>
                    <m:r>
                      <a:rPr lang="en-IN" sz="240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17</m:t>
                    </m:r>
                    <m:sSub>
                      <m:sSub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27</m:t>
                    </m:r>
                    <m:sSub>
                      <m:sSub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</m:t>
                    </m:r>
                    <m:sSubSup>
                      <m:sSubSup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  <m:sup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bSup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0.9</m:t>
                    </m:r>
                    <m:sSubSup>
                      <m:sSubSup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  <m:sup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= 245.3</a:t>
                </a:r>
              </a:p>
              <a:p>
                <a:pPr marL="0" indent="0" algn="just" latinLnBrk="0">
                  <a:buNone/>
                </a:pPr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4" name="Content Placeholder 3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3"/>
                <a:stretch>
                  <a:fillRect l="-833" t="-829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0300855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xample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Content Placeholder 3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marL="0" indent="0" algn="just" latinLnBrk="0">
                  <a:buNone/>
                </a:pPr>
                <a14:m>
                  <m:oMath xmlns:m="http://schemas.openxmlformats.org/officeDocument/2006/math">
                    <m:r>
                      <a:rPr lang="en-IN" sz="240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𝑇h𝑒𝑛</m:t>
                    </m:r>
                    <m:r>
                      <a:rPr lang="en-IN" sz="240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, </m:t>
                    </m:r>
                    <m:r>
                      <a:rPr lang="en-IN" sz="240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𝑍</m:t>
                    </m:r>
                    <m:d>
                      <m:d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SupPr>
                          <m:e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1</m:t>
                            </m:r>
                          </m:sub>
                          <m:sup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′</m:t>
                            </m:r>
                          </m:sup>
                        </m:sSubSup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,</m:t>
                        </m:r>
                        <m:sSubSup>
                          <m:sSubSupPr>
                            <m:ctrlP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SupPr>
                          <m:e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2</m:t>
                            </m:r>
                          </m:sub>
                          <m:sup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′</m:t>
                            </m:r>
                          </m:sup>
                        </m:sSubSup>
                      </m:e>
                    </m:d>
                    <m:r>
                      <a:rPr lang="en-IN" sz="240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m:rPr>
                        <m:sty m:val="p"/>
                      </m:rPr>
                      <a:rPr lang="en-IN" sz="240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Z</m:t>
                    </m:r>
                    <m:d>
                      <m:d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r>
                          <a:rPr lang="en-IN" sz="240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6.06, 9.89</m:t>
                        </m:r>
                      </m:e>
                    </m:d>
                    <m:r>
                      <a:rPr lang="en-IN" sz="240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17</m:t>
                    </m:r>
                    <m:sSub>
                      <m:sSub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27</m:t>
                    </m:r>
                    <m:sSub>
                      <m:sSub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</m:t>
                    </m:r>
                    <m:sSubSup>
                      <m:sSubSup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  <m:sup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bSup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0.9</m:t>
                    </m:r>
                    <m:sSubSup>
                      <m:sSubSup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  <m:sup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= 245.3</a:t>
                </a: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𝐺</m:t>
                      </m:r>
                      <m:r>
                        <a:rPr lang="en-IN" sz="2400" i="1" baseline="-250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1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𝑃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 17−2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, 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𝑤h𝑒𝑟𝑒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 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6.06 </m:t>
                      </m:r>
                    </m:oMath>
                  </m:oMathPara>
                </a14:m>
                <a:endParaRPr lang="en-IN" sz="2400" b="0" i="1" dirty="0"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𝐺</m:t>
                      </m:r>
                      <m:r>
                        <a:rPr lang="en-IN" sz="2400" i="1" baseline="-250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1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𝑃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4.88</m:t>
                      </m:r>
                    </m:oMath>
                  </m:oMathPara>
                </a14:m>
                <a:endParaRPr lang="en-IN" sz="2400" b="0" i="1" dirty="0"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𝐺</m:t>
                      </m:r>
                      <m:r>
                        <a:rPr lang="en-IN" sz="2400" i="1" baseline="-250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2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𝑃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27−1.8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, 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𝑤h𝑒𝑟𝑒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 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b>
                      </m:sSub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9.89</m:t>
                      </m:r>
                    </m:oMath>
                  </m:oMathPara>
                </a14:m>
                <a:endParaRPr lang="en-IN" sz="2400" b="0" i="1" dirty="0"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𝐺</m:t>
                      </m:r>
                      <m:r>
                        <a:rPr lang="en-IN" sz="2400" i="1" baseline="-250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2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𝑃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9.198</m:t>
                      </m:r>
                    </m:oMath>
                  </m:oMathPara>
                </a14:m>
                <a:endParaRPr lang="en-IN" sz="2400" b="0" i="1" dirty="0"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𝑀𝑎𝑔𝑛𝑖𝑡𝑢𝑑𝑒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 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𝑚</m:t>
                          </m:r>
                        </m:e>
                        <m:sub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en-IN" sz="24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Sqrt</m:t>
                      </m:r>
                      <m:r>
                        <a:rPr lang="en-IN" sz="24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 ((</m:t>
                      </m:r>
                      <m:r>
                        <m:rPr>
                          <m:sty m:val="p"/>
                        </m:rPr>
                        <a:rPr lang="en-IN" sz="24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G</m:t>
                      </m:r>
                      <m:r>
                        <a:rPr lang="en-IN" sz="2400" baseline="-250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1</m:t>
                      </m:r>
                      <m:sSup>
                        <m:sSup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en-IN" sz="240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P</m:t>
                          </m:r>
                          <m:r>
                            <a:rPr lang="en-IN" sz="240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)</m:t>
                          </m:r>
                        </m:e>
                        <m:sup>
                          <m:r>
                            <a:rPr lang="en-IN" sz="240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p>
                      </m:sSup>
                      <m:r>
                        <a:rPr lang="en-IN" sz="24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+</m:t>
                      </m:r>
                      <m:d>
                        <m:d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IN" sz="240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G</m:t>
                          </m:r>
                          <m:r>
                            <a:rPr lang="en-IN" sz="2400" baseline="-2500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  <m:sSup>
                            <m:sSupPr>
                              <m:ctrlPr>
                                <a:rPr lang="en-IN" sz="2400" i="1"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pPr>
                            <m:e>
                              <m:r>
                                <m:rPr>
                                  <m:sty m:val="p"/>
                                </m:rPr>
                                <a:rPr lang="en-IN" sz="2400"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P</m:t>
                              </m:r>
                              <m:r>
                                <a:rPr lang="en-IN" sz="2400"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)</m:t>
                              </m:r>
                            </m:e>
                            <m:sup>
                              <m:r>
                                <a:rPr lang="en-IN" sz="2400"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10.41</m:t>
                      </m:r>
                    </m:oMath>
                  </m:oMathPara>
                </a14:m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New, x1 and x2..i.e.,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  <m:sup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′</m:t>
                        </m:r>
                      </m:sup>
                    </m:sSubSup>
                    <m:r>
                      <a:rPr lang="en-IN" sz="24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𝑎𝑛𝑑</m:t>
                    </m:r>
                    <m:sSubSup>
                      <m:sSubSup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  <m:sup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′</m:t>
                        </m:r>
                      </m:sup>
                    </m:sSubSup>
                  </m:oMath>
                </a14:m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 xmlns:m="http://schemas.openxmlformats.org/officeDocument/2006/math">
                    <m:r>
                      <a:rPr lang="en-IN" sz="24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𝑁𝑒𝑤</m:t>
                    </m:r>
                    <m:r>
                      <a:rPr lang="en-IN" sz="24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  <m:sSubSup>
                      <m:sSubSup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  <m:sup/>
                    </m:sSubSup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  <m:sup/>
                    </m:sSubSup>
                    <m:r>
                      <a:rPr lang="en-IN" sz="24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r>
                      <a:rPr lang="en-IN" sz="24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𝐶</m:t>
                    </m:r>
                    <m:d>
                      <m:d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fPr>
                          <m:num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𝐺</m:t>
                            </m:r>
                            <m:r>
                              <a:rPr lang="en-IN" sz="2400" i="1" baseline="-25000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1</m:t>
                            </m:r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𝑃</m:t>
                            </m:r>
                          </m:num>
                          <m:den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𝑚</m:t>
                            </m:r>
                          </m:den>
                        </m:f>
                      </m:e>
                    </m:d>
                    <m:r>
                      <a:rPr lang="en-IN" sz="2400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a:rPr lang="en-IN" sz="2400" b="0" i="1" dirty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7.935</m:t>
                    </m:r>
                  </m:oMath>
                </a14:m>
                <a:endParaRPr lang="en-IN" sz="2400" b="0" i="1" dirty="0"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𝑁𝑒𝑤</m:t>
                        </m:r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  </m:t>
                        </m:r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  <m:sup/>
                    </m:sSubSup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  <m:sup/>
                    </m:sSubSup>
                    <m:r>
                      <a:rPr lang="en-IN" sz="24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r>
                      <a:rPr lang="en-IN" sz="24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𝐶</m:t>
                    </m:r>
                    <m:d>
                      <m:d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fPr>
                          <m:num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𝐺</m:t>
                            </m:r>
                            <m:r>
                              <a:rPr lang="en-IN" sz="2400" i="1" baseline="-25000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2</m:t>
                            </m:r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𝑃</m:t>
                            </m:r>
                          </m:num>
                          <m:den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𝑚</m:t>
                            </m:r>
                          </m:den>
                        </m:f>
                      </m:e>
                    </m:d>
                    <m:r>
                      <a:rPr lang="en-IN" sz="2400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a:rPr lang="en-IN" sz="2400" b="0" i="0" dirty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13.42</m:t>
                    </m:r>
                  </m:oMath>
                </a14:m>
                <a:endParaRPr lang="en-IN" sz="2400" b="0" i="0" dirty="0"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 xmlns:m="http://schemas.openxmlformats.org/officeDocument/2006/math"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𝑇h𝑒𝑛</m:t>
                    </m:r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, </m:t>
                    </m:r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𝑍</m:t>
                    </m:r>
                    <m:d>
                      <m:d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SupPr>
                          <m:e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1</m:t>
                            </m:r>
                          </m:sub>
                          <m:sup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′</m:t>
                            </m:r>
                          </m:sup>
                        </m:sSubSup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,</m:t>
                        </m:r>
                        <m:sSubSup>
                          <m:sSubSupPr>
                            <m:ctrlP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SupPr>
                          <m:e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2</m:t>
                            </m:r>
                          </m:sub>
                          <m:sup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′</m:t>
                            </m:r>
                          </m:sup>
                        </m:sSubSup>
                      </m:e>
                    </m:d>
                    <m:r>
                      <a:rPr lang="en-IN" sz="240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m:rPr>
                        <m:sty m:val="p"/>
                      </m:rPr>
                      <a:rPr lang="en-IN" sz="240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Z</m:t>
                    </m:r>
                    <m:d>
                      <m:d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r>
                          <a:rPr lang="en-IN" sz="2400" b="0" i="0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7.935, 13.42</m:t>
                        </m:r>
                      </m:e>
                    </m:d>
                    <m:r>
                      <a:rPr lang="en-IN" sz="240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17</m:t>
                    </m:r>
                    <m:sSub>
                      <m:sSub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27</m:t>
                    </m:r>
                    <m:sSub>
                      <m:sSub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</m:t>
                    </m:r>
                    <m:sSubSup>
                      <m:sSubSup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  <m:sup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bSup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0.9</m:t>
                    </m:r>
                    <m:sSubSup>
                      <m:sSubSup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  <m:sup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= 272.19</a:t>
                </a:r>
              </a:p>
              <a:p>
                <a:pPr marL="0" indent="0" algn="just" latinLnBrk="0">
                  <a:buNone/>
                </a:pPr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4" name="Content Placeholder 3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3"/>
                <a:stretch>
                  <a:fillRect l="-833" t="-829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3920940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xample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Content Placeholder 3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marL="0" indent="0" algn="just" latinLnBrk="0">
                  <a:buNone/>
                </a:pPr>
                <a14:m>
                  <m:oMath xmlns:m="http://schemas.openxmlformats.org/officeDocument/2006/math">
                    <m:r>
                      <a:rPr lang="en-IN" sz="240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𝑇h𝑒𝑛</m:t>
                    </m:r>
                    <m:r>
                      <a:rPr lang="en-IN" sz="240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, </m:t>
                    </m:r>
                    <m:r>
                      <a:rPr lang="en-IN" sz="240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𝑍</m:t>
                    </m:r>
                    <m:d>
                      <m:d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SupPr>
                          <m:e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1</m:t>
                            </m:r>
                          </m:sub>
                          <m:sup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′</m:t>
                            </m:r>
                          </m:sup>
                        </m:sSubSup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,</m:t>
                        </m:r>
                        <m:sSubSup>
                          <m:sSubSupPr>
                            <m:ctrlP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SupPr>
                          <m:e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2</m:t>
                            </m:r>
                          </m:sub>
                          <m:sup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′</m:t>
                            </m:r>
                          </m:sup>
                        </m:sSubSup>
                      </m:e>
                    </m:d>
                    <m:r>
                      <a:rPr lang="en-IN" sz="240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m:rPr>
                        <m:sty m:val="p"/>
                      </m:rPr>
                      <a:rPr lang="en-IN" sz="240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Z</m:t>
                    </m:r>
                    <m:d>
                      <m:d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r>
                          <a:rPr lang="en-IN" sz="240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7.935, 13.42</m:t>
                        </m:r>
                      </m:e>
                    </m:d>
                    <m:r>
                      <a:rPr lang="en-IN" sz="240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17</m:t>
                    </m:r>
                    <m:sSub>
                      <m:sSub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27</m:t>
                    </m:r>
                    <m:sSub>
                      <m:sSub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</m:t>
                    </m:r>
                    <m:sSubSup>
                      <m:sSubSup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  <m:sup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bSup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0.9</m:t>
                    </m:r>
                    <m:sSubSup>
                      <m:sSubSup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  <m:sup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= 272.19</a:t>
                </a: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𝐺</m:t>
                      </m:r>
                      <m:r>
                        <a:rPr lang="en-IN" sz="2400" i="1" baseline="-250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1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𝑃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 17−2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, 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𝑤h𝑒𝑟𝑒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 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7.935 </m:t>
                      </m:r>
                    </m:oMath>
                  </m:oMathPara>
                </a14:m>
                <a:endParaRPr lang="en-IN" sz="2400" b="0" i="1" dirty="0"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𝐺</m:t>
                      </m:r>
                      <m:r>
                        <a:rPr lang="en-IN" sz="2400" i="1" baseline="-250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1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𝑃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1.13</m:t>
                      </m:r>
                    </m:oMath>
                  </m:oMathPara>
                </a14:m>
                <a:endParaRPr lang="en-IN" sz="2400" b="0" i="1" dirty="0"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𝐺</m:t>
                      </m:r>
                      <m:r>
                        <a:rPr lang="en-IN" sz="2400" i="1" baseline="-250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2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𝑃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27−1.8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, 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𝑤h𝑒𝑟𝑒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 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𝑥</m:t>
                          </m:r>
                        </m:e>
                        <m:sub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b>
                      </m:sSub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13.42</m:t>
                      </m:r>
                    </m:oMath>
                  </m:oMathPara>
                </a14:m>
                <a:endParaRPr lang="en-IN" sz="2400" b="0" i="1" dirty="0"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𝐺</m:t>
                      </m:r>
                      <m:r>
                        <a:rPr lang="en-IN" sz="2400" i="1" baseline="-250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2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𝑃</m:t>
                      </m:r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2.844</m:t>
                      </m:r>
                    </m:oMath>
                  </m:oMathPara>
                </a14:m>
                <a:endParaRPr lang="en-IN" sz="2400" b="0" i="1" dirty="0"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𝑀𝑎𝑔𝑛𝑖𝑡𝑢𝑑𝑒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 </m:t>
                      </m:r>
                      <m:sSub>
                        <m:sSub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𝑚</m:t>
                          </m:r>
                        </m:e>
                        <m:sub>
                          <m: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</m:sub>
                      </m:sSub>
                      <m:r>
                        <a:rPr lang="en-IN" sz="24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en-IN" sz="24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Sqrt</m:t>
                      </m:r>
                      <m:r>
                        <a:rPr lang="en-IN" sz="24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 ((</m:t>
                      </m:r>
                      <m:r>
                        <m:rPr>
                          <m:sty m:val="p"/>
                        </m:rPr>
                        <a:rPr lang="en-IN" sz="24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G</m:t>
                      </m:r>
                      <m:r>
                        <a:rPr lang="en-IN" sz="2400" baseline="-250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1</m:t>
                      </m:r>
                      <m:sSup>
                        <m:sSup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en-IN" sz="240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P</m:t>
                          </m:r>
                          <m:r>
                            <a:rPr lang="en-IN" sz="240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)</m:t>
                          </m:r>
                        </m:e>
                        <m:sup>
                          <m:r>
                            <a:rPr lang="en-IN" sz="240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p>
                      </m:sSup>
                      <m:r>
                        <a:rPr lang="en-IN" sz="24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+</m:t>
                      </m:r>
                      <m:d>
                        <m:d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IN" sz="240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G</m:t>
                          </m:r>
                          <m:r>
                            <a:rPr lang="en-IN" sz="2400" baseline="-2500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  <m:sSup>
                            <m:sSupPr>
                              <m:ctrlPr>
                                <a:rPr lang="en-IN" sz="2400" i="1"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pPr>
                            <m:e>
                              <m:r>
                                <m:rPr>
                                  <m:sty m:val="p"/>
                                </m:rPr>
                                <a:rPr lang="en-IN" sz="2400"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P</m:t>
                              </m:r>
                              <m:r>
                                <a:rPr lang="en-IN" sz="2400"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)</m:t>
                              </m:r>
                            </m:e>
                            <m:sup>
                              <m:r>
                                <a:rPr lang="en-IN" sz="2400"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3.06</m:t>
                      </m:r>
                    </m:oMath>
                  </m:oMathPara>
                </a14:m>
                <a:endParaRPr lang="en-IN" sz="2400" b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New, x1 and x2..i.e.,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  <m:sup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′</m:t>
                        </m:r>
                      </m:sup>
                    </m:sSubSup>
                    <m:r>
                      <a:rPr lang="en-IN" sz="24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𝑎𝑛𝑑</m:t>
                    </m:r>
                    <m:sSubSup>
                      <m:sSubSup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  <m:sup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′</m:t>
                        </m:r>
                      </m:sup>
                    </m:sSubSup>
                  </m:oMath>
                </a14:m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 xmlns:m="http://schemas.openxmlformats.org/officeDocument/2006/math">
                    <m:r>
                      <a:rPr lang="en-IN" sz="24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𝑁𝑒𝑤</m:t>
                    </m:r>
                    <m:r>
                      <a:rPr lang="en-IN" sz="24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  <m:sSubSup>
                      <m:sSubSup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  <m:sup/>
                    </m:sSubSup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  <m:sup/>
                    </m:sSubSup>
                    <m:r>
                      <a:rPr lang="en-IN" sz="24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r>
                      <a:rPr lang="en-IN" sz="24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𝐶</m:t>
                    </m:r>
                    <m:d>
                      <m:d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fPr>
                          <m:num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𝐺</m:t>
                            </m:r>
                            <m:r>
                              <a:rPr lang="en-IN" sz="2400" i="1" baseline="-25000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1</m:t>
                            </m:r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𝑃</m:t>
                            </m:r>
                          </m:num>
                          <m:den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𝑚</m:t>
                            </m:r>
                          </m:den>
                        </m:f>
                      </m:e>
                    </m:d>
                    <m:r>
                      <a:rPr lang="en-IN" sz="2400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a:rPr lang="en-IN" sz="2400" b="0" i="1" dirty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9.412</m:t>
                    </m:r>
                  </m:oMath>
                </a14:m>
                <a:endParaRPr lang="en-IN" sz="2400" b="0" i="1" dirty="0"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𝑁𝑒𝑤</m:t>
                        </m:r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  </m:t>
                        </m:r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  <m:sup/>
                    </m:sSubSup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  <m:sup/>
                    </m:sSubSup>
                    <m:r>
                      <a:rPr lang="en-IN" sz="24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r>
                      <a:rPr lang="en-IN" sz="24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𝐶</m:t>
                    </m:r>
                    <m:d>
                      <m:dPr>
                        <m:ctrlP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fPr>
                          <m:num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𝐺</m:t>
                            </m:r>
                            <m:r>
                              <a:rPr lang="en-IN" sz="2400" i="1" baseline="-25000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2</m:t>
                            </m:r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𝑃</m:t>
                            </m:r>
                          </m:num>
                          <m:den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𝑚</m:t>
                            </m:r>
                          </m:den>
                        </m:f>
                      </m:e>
                    </m:d>
                    <m:r>
                      <a:rPr lang="en-IN" sz="2400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a:rPr lang="en-IN" sz="2400" b="0" i="0" dirty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17.13</m:t>
                    </m:r>
                  </m:oMath>
                </a14:m>
                <a:endParaRPr lang="en-IN" sz="2400" b="0" i="0" dirty="0"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 xmlns:m="http://schemas.openxmlformats.org/officeDocument/2006/math"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𝑇h𝑒𝑛</m:t>
                    </m:r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, </m:t>
                    </m:r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𝑍</m:t>
                    </m:r>
                    <m:d>
                      <m:d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SupPr>
                          <m:e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1</m:t>
                            </m:r>
                          </m:sub>
                          <m:sup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′</m:t>
                            </m:r>
                          </m:sup>
                        </m:sSubSup>
                        <m:r>
                          <a:rPr lang="en-IN" sz="2400" i="1" dirty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,</m:t>
                        </m:r>
                        <m:sSubSup>
                          <m:sSubSupPr>
                            <m:ctrlP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SupPr>
                          <m:e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2</m:t>
                            </m:r>
                          </m:sub>
                          <m:sup>
                            <m:r>
                              <a:rPr lang="en-IN" sz="2400" i="1" dirty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′</m:t>
                            </m:r>
                          </m:sup>
                        </m:sSubSup>
                      </m:e>
                    </m:d>
                    <m:r>
                      <a:rPr lang="en-IN" sz="240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m:rPr>
                        <m:sty m:val="p"/>
                      </m:rPr>
                      <a:rPr lang="en-IN" sz="240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Z</m:t>
                    </m:r>
                    <m:d>
                      <m:d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r>
                          <a:rPr lang="en-IN" sz="2400" b="0" i="0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7.935, 13.42</m:t>
                        </m:r>
                      </m:e>
                    </m:d>
                    <m:r>
                      <a:rPr lang="en-IN" sz="240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17</m:t>
                    </m:r>
                    <m:sSub>
                      <m:sSub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+27</m:t>
                    </m:r>
                    <m:sSub>
                      <m:sSub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</m:t>
                    </m:r>
                    <m:sSubSup>
                      <m:sSubSup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  <m:sup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bSup>
                    <m:r>
                      <a:rPr lang="en-IN" sz="2400" i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0.9</m:t>
                    </m:r>
                    <m:sSubSup>
                      <m:sSubSupPr>
                        <m:ctrlP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SupPr>
                      <m:e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  <m:sup>
                        <m:r>
                          <a:rPr lang="en-IN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en-IN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= 269.84</a:t>
                </a:r>
              </a:p>
              <a:p>
                <a:pPr marL="0" indent="0" algn="just" latinLnBrk="0">
                  <a:buNone/>
                </a:pPr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4" name="Content Placeholder 3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3"/>
                <a:stretch>
                  <a:fillRect l="-833" t="-829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9590848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xample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Content Placeholder 3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𝐹𝑖𝑛𝑎𝑙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 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𝑝𝑜𝑖𝑛𝑡𝑠</m:t>
                      </m:r>
                      <m:r>
                        <a:rPr lang="en-IN" sz="2400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:</m:t>
                      </m:r>
                    </m:oMath>
                  </m:oMathPara>
                </a14:m>
                <a:endParaRPr lang="en-IN" sz="2400" b="0" i="1" dirty="0"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IN" sz="24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Z</m:t>
                      </m:r>
                      <m:d>
                        <m:d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en-IN" sz="2400" b="0" i="0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,3</m:t>
                          </m:r>
                        </m:e>
                      </m:d>
                      <m:r>
                        <a:rPr lang="en-IN" sz="2400" b="0" i="0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102.9</m:t>
                      </m:r>
                    </m:oMath>
                  </m:oMathPara>
                </a14:m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IN" sz="24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Z</m:t>
                      </m:r>
                      <m:d>
                        <m:d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en-IN" sz="2400" b="0" i="0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4.063,6.43</m:t>
                          </m:r>
                        </m:e>
                      </m:d>
                      <m:r>
                        <a:rPr lang="en-IN" sz="24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IN" sz="2400" b="0" i="0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188.981</m:t>
                      </m:r>
                    </m:oMath>
                  </m:oMathPara>
                </a14:m>
                <a:endParaRPr lang="en-IN" sz="2400" b="0" i="0" dirty="0"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IN" sz="24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Z</m:t>
                      </m:r>
                      <m:d>
                        <m:d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en-IN" sz="2400" b="0" i="0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6.06,9.89</m:t>
                          </m:r>
                        </m:e>
                      </m:d>
                      <m:r>
                        <a:rPr lang="en-IN" sz="24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IN" sz="2400" b="0" i="0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245.3</m:t>
                      </m:r>
                    </m:oMath>
                  </m:oMathPara>
                </a14:m>
                <a:endParaRPr lang="en-IN" sz="2400" b="0" i="0" dirty="0"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IN" sz="24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Z</m:t>
                      </m:r>
                      <m:d>
                        <m:d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en-IN" sz="2400" b="0" i="0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7.935,13.42</m:t>
                          </m:r>
                        </m:e>
                      </m:d>
                      <m:r>
                        <a:rPr lang="en-IN" sz="24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IN" sz="2400" b="0" i="0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272.19</m:t>
                      </m:r>
                    </m:oMath>
                  </m:oMathPara>
                </a14:m>
                <a:endParaRPr lang="en-IN" sz="2400" b="0" i="0" dirty="0"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IN" sz="24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Z</m:t>
                      </m:r>
                      <m:d>
                        <m:dPr>
                          <m:ctrlPr>
                            <a:rPr lang="en-IN" sz="24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en-IN" sz="2400" b="0" i="0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9.412,17.13</m:t>
                          </m:r>
                        </m:e>
                      </m:d>
                      <m:r>
                        <a:rPr lang="en-IN" sz="240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r>
                        <a:rPr lang="en-IN" sz="2400" b="0" i="0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269.84</m:t>
                      </m:r>
                    </m:oMath>
                  </m:oMathPara>
                </a14:m>
                <a:endParaRPr lang="en-IN" sz="2400" b="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just" latinLnBrk="0">
                  <a:buNone/>
                </a:pPr>
                <a:endParaRPr lang="en-IN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4" name="Content Placeholder 3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3"/>
                <a:stretch>
                  <a:fillRect l="-167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Cube 2"/>
          <p:cNvSpPr/>
          <p:nvPr/>
        </p:nvSpPr>
        <p:spPr>
          <a:xfrm>
            <a:off x="10020436" y="4525303"/>
            <a:ext cx="1216152" cy="1216152"/>
          </a:xfrm>
          <a:prstGeom prst="cube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sz="1050" b="1" dirty="0">
              <a:solidFill>
                <a:schemeClr val="tx1"/>
              </a:solidFill>
            </a:endParaRPr>
          </a:p>
        </p:txBody>
      </p:sp>
      <p:sp>
        <p:nvSpPr>
          <p:cNvPr id="6" name="Cube 5"/>
          <p:cNvSpPr/>
          <p:nvPr/>
        </p:nvSpPr>
        <p:spPr>
          <a:xfrm>
            <a:off x="7212124" y="2681007"/>
            <a:ext cx="1216152" cy="1216152"/>
          </a:xfrm>
          <a:prstGeom prst="cub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sz="1050" b="1" dirty="0">
              <a:solidFill>
                <a:schemeClr val="tx1"/>
              </a:solidFill>
            </a:endParaRPr>
          </a:p>
        </p:txBody>
      </p:sp>
      <p:cxnSp>
        <p:nvCxnSpPr>
          <p:cNvPr id="8" name="Straight Arrow Connector 7"/>
          <p:cNvCxnSpPr/>
          <p:nvPr/>
        </p:nvCxnSpPr>
        <p:spPr bwMode="auto">
          <a:xfrm flipH="1" flipV="1">
            <a:off x="7820200" y="3392996"/>
            <a:ext cx="2704292" cy="1836204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Arc 8"/>
          <p:cNvSpPr/>
          <p:nvPr/>
        </p:nvSpPr>
        <p:spPr bwMode="auto">
          <a:xfrm rot="4639479">
            <a:off x="5378233" y="893862"/>
            <a:ext cx="4416156" cy="4884535"/>
          </a:xfrm>
          <a:prstGeom prst="arc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IN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Arc 9"/>
          <p:cNvSpPr/>
          <p:nvPr/>
        </p:nvSpPr>
        <p:spPr bwMode="auto">
          <a:xfrm rot="4639479">
            <a:off x="4641061" y="266994"/>
            <a:ext cx="4416156" cy="4884535"/>
          </a:xfrm>
          <a:prstGeom prst="arc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IN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Arc 10"/>
          <p:cNvSpPr/>
          <p:nvPr/>
        </p:nvSpPr>
        <p:spPr bwMode="auto">
          <a:xfrm rot="4639479">
            <a:off x="3857196" y="-459745"/>
            <a:ext cx="4416156" cy="4884535"/>
          </a:xfrm>
          <a:prstGeom prst="arc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IN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" name="Arc 11"/>
          <p:cNvSpPr/>
          <p:nvPr/>
        </p:nvSpPr>
        <p:spPr bwMode="auto">
          <a:xfrm rot="4639479">
            <a:off x="3234017" y="-1051025"/>
            <a:ext cx="4416156" cy="4884535"/>
          </a:xfrm>
          <a:prstGeom prst="arc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IN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" name="Arc 12"/>
          <p:cNvSpPr/>
          <p:nvPr/>
        </p:nvSpPr>
        <p:spPr bwMode="auto">
          <a:xfrm rot="4639479">
            <a:off x="6395141" y="1482710"/>
            <a:ext cx="4416156" cy="4884535"/>
          </a:xfrm>
          <a:prstGeom prst="arc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IN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/>
              <p:cNvSpPr/>
              <p:nvPr/>
            </p:nvSpPr>
            <p:spPr>
              <a:xfrm>
                <a:off x="11000696" y="3832816"/>
                <a:ext cx="668773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102.9</m:t>
                      </m:r>
                    </m:oMath>
                  </m:oMathPara>
                </a14:m>
                <a:endParaRPr lang="en-IN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4" name="Rectangle 1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00696" y="3832816"/>
                <a:ext cx="668773" cy="307777"/>
              </a:xfrm>
              <a:prstGeom prst="rect">
                <a:avLst/>
              </a:prstGeom>
              <a:blipFill rotWithShape="0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/>
              <p:cNvSpPr/>
              <p:nvPr/>
            </p:nvSpPr>
            <p:spPr>
              <a:xfrm>
                <a:off x="9923391" y="2641023"/>
                <a:ext cx="857927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188.981</m:t>
                      </m:r>
                    </m:oMath>
                  </m:oMathPara>
                </a14:m>
                <a:endParaRPr lang="en-IN" dirty="0"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5" name="Rectangle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23391" y="2641023"/>
                <a:ext cx="857927" cy="307777"/>
              </a:xfrm>
              <a:prstGeom prst="rect">
                <a:avLst/>
              </a:prstGeom>
              <a:blipFill rotWithShape="0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/>
              <p:cNvSpPr/>
              <p:nvPr/>
            </p:nvSpPr>
            <p:spPr>
              <a:xfrm>
                <a:off x="9274835" y="2042939"/>
                <a:ext cx="65915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245.3</m:t>
                      </m:r>
                    </m:oMath>
                  </m:oMathPara>
                </a14:m>
                <a:endParaRPr lang="en-IN" dirty="0"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6" name="Rectangle 1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74835" y="2042939"/>
                <a:ext cx="659155" cy="307777"/>
              </a:xfrm>
              <a:prstGeom prst="rect">
                <a:avLst/>
              </a:prstGeom>
              <a:blipFill rotWithShape="0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/>
              <p:cNvSpPr/>
              <p:nvPr/>
            </p:nvSpPr>
            <p:spPr>
              <a:xfrm>
                <a:off x="8459020" y="1480007"/>
                <a:ext cx="758541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272.19</m:t>
                      </m:r>
                    </m:oMath>
                  </m:oMathPara>
                </a14:m>
                <a:endParaRPr lang="en-IN" dirty="0">
                  <a:latin typeface="Cambria Math" panose="02040503050406030204" pitchFamily="18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7" name="Rectangle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59020" y="1480007"/>
                <a:ext cx="758541" cy="307777"/>
              </a:xfrm>
              <a:prstGeom prst="rect">
                <a:avLst/>
              </a:prstGeom>
              <a:blipFill rotWithShape="0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/>
              <p:cNvSpPr/>
              <p:nvPr/>
            </p:nvSpPr>
            <p:spPr>
              <a:xfrm>
                <a:off x="7745036" y="684850"/>
                <a:ext cx="76815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indent="0" algn="just" latinLnBrk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IN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269.84</m:t>
                      </m:r>
                    </m:oMath>
                  </m:oMathPara>
                </a14:m>
                <a:endParaRPr lang="en-IN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8" name="Rectangle 1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45036" y="684850"/>
                <a:ext cx="768159" cy="307777"/>
              </a:xfrm>
              <a:prstGeom prst="rect">
                <a:avLst/>
              </a:prstGeom>
              <a:blipFill rotWithShape="0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0" name="Elbow Connector 19"/>
          <p:cNvCxnSpPr/>
          <p:nvPr/>
        </p:nvCxnSpPr>
        <p:spPr bwMode="auto">
          <a:xfrm flipV="1">
            <a:off x="5267908" y="5229200"/>
            <a:ext cx="5185661" cy="1080120"/>
          </a:xfrm>
          <a:prstGeom prst="bentConnector3">
            <a:avLst/>
          </a:prstGeom>
          <a:ln>
            <a:prstDash val="dashDot"/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2634677" y="6239289"/>
            <a:ext cx="24711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Current operating condit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577923" y="5621190"/>
            <a:ext cx="27015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Contours of constant respons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577923" y="4938252"/>
            <a:ext cx="15895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Optimum region</a:t>
            </a:r>
          </a:p>
        </p:txBody>
      </p:sp>
    </p:spTree>
    <p:extLst>
      <p:ext uri="{BB962C8B-B14F-4D97-AF65-F5344CB8AC3E}">
        <p14:creationId xmlns:p14="http://schemas.microsoft.com/office/powerpoint/2010/main" val="352595934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Features for selecting response surface design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b="89251"/>
          <a:stretch/>
        </p:blipFill>
        <p:spPr>
          <a:xfrm>
            <a:off x="1125234" y="1160748"/>
            <a:ext cx="9325036" cy="63516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l="10932" t="24981"/>
          <a:stretch/>
        </p:blipFill>
        <p:spPr>
          <a:xfrm>
            <a:off x="1199456" y="1880828"/>
            <a:ext cx="8305600" cy="4432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53565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esign for fitting the Second-Order Mod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just" latinLnBrk="0">
              <a:lnSpc>
                <a:spcPct val="150000"/>
              </a:lnSpc>
              <a:buNone/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There are two main types of response surface designs:</a:t>
            </a:r>
          </a:p>
          <a:p>
            <a:pPr algn="just" latinLnBrk="0">
              <a:lnSpc>
                <a:spcPct val="150000"/>
              </a:lnSpc>
            </a:pPr>
            <a:r>
              <a:rPr lang="en-US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al Composite designs (CCD)</a:t>
            </a:r>
          </a:p>
          <a:p>
            <a:pPr lvl="1" algn="just" latinLnBrk="0">
              <a:lnSpc>
                <a:spcPct val="150000"/>
              </a:lnSpc>
            </a:pPr>
            <a:r>
              <a:rPr lang="en-US" sz="1507" dirty="0">
                <a:latin typeface="Arial" panose="020B0604020202020204" pitchFamily="34" charset="0"/>
                <a:cs typeface="Arial" panose="020B0604020202020204" pitchFamily="34" charset="0"/>
              </a:rPr>
              <a:t>Central Composite designs can fit a full quadratic model. They are often used when the design plan calls for sequential experimentation because these designs can include information from a correctly planned factorial experiment.</a:t>
            </a:r>
          </a:p>
          <a:p>
            <a:pPr algn="just" latinLnBrk="0">
              <a:lnSpc>
                <a:spcPct val="150000"/>
              </a:lnSpc>
            </a:pPr>
            <a:r>
              <a:rPr lang="en-US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x-</a:t>
            </a:r>
            <a:r>
              <a:rPr lang="en-US" sz="2000" b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hnken</a:t>
            </a:r>
            <a:r>
              <a:rPr lang="en-US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igns (BBD)</a:t>
            </a:r>
          </a:p>
          <a:p>
            <a:pPr lvl="1" algn="just" latinLnBrk="0">
              <a:lnSpc>
                <a:spcPct val="150000"/>
              </a:lnSpc>
            </a:pPr>
            <a:r>
              <a:rPr lang="en-US" sz="1507" dirty="0">
                <a:latin typeface="Arial" panose="020B0604020202020204" pitchFamily="34" charset="0"/>
                <a:cs typeface="Arial" panose="020B0604020202020204" pitchFamily="34" charset="0"/>
              </a:rPr>
              <a:t>Box-</a:t>
            </a:r>
            <a:r>
              <a:rPr lang="en-US" sz="1507" dirty="0" err="1">
                <a:latin typeface="Arial" panose="020B0604020202020204" pitchFamily="34" charset="0"/>
                <a:cs typeface="Arial" panose="020B0604020202020204" pitchFamily="34" charset="0"/>
              </a:rPr>
              <a:t>Behnken</a:t>
            </a:r>
            <a:r>
              <a:rPr lang="en-US" sz="1507" dirty="0">
                <a:latin typeface="Arial" panose="020B0604020202020204" pitchFamily="34" charset="0"/>
                <a:cs typeface="Arial" panose="020B0604020202020204" pitchFamily="34" charset="0"/>
              </a:rPr>
              <a:t> designs usually have fewer design points than central composite designs, thus, they are less expensive to run with the same number of factors. They can efficiently estimate the first- and second-order coefficients; however, they </a:t>
            </a:r>
            <a:r>
              <a:rPr lang="en-US" sz="1507" b="1" dirty="0">
                <a:latin typeface="Arial" panose="020B0604020202020204" pitchFamily="34" charset="0"/>
                <a:cs typeface="Arial" panose="020B0604020202020204" pitchFamily="34" charset="0"/>
              </a:rPr>
              <a:t>can't include runs </a:t>
            </a:r>
            <a:r>
              <a:rPr lang="en-US" sz="1507" dirty="0">
                <a:latin typeface="Arial" panose="020B0604020202020204" pitchFamily="34" charset="0"/>
                <a:cs typeface="Arial" panose="020B0604020202020204" pitchFamily="34" charset="0"/>
              </a:rPr>
              <a:t>from a factorial experiment. Box-</a:t>
            </a:r>
            <a:r>
              <a:rPr lang="en-US" sz="1507" dirty="0" err="1">
                <a:latin typeface="Arial" panose="020B0604020202020204" pitchFamily="34" charset="0"/>
                <a:cs typeface="Arial" panose="020B0604020202020204" pitchFamily="34" charset="0"/>
              </a:rPr>
              <a:t>Behnken</a:t>
            </a:r>
            <a:r>
              <a:rPr lang="en-US" sz="1507" dirty="0">
                <a:latin typeface="Arial" panose="020B0604020202020204" pitchFamily="34" charset="0"/>
                <a:cs typeface="Arial" panose="020B0604020202020204" pitchFamily="34" charset="0"/>
              </a:rPr>
              <a:t> designs </a:t>
            </a:r>
            <a:r>
              <a:rPr lang="en-US" sz="1507" b="1" dirty="0">
                <a:latin typeface="Arial" panose="020B0604020202020204" pitchFamily="34" charset="0"/>
                <a:cs typeface="Arial" panose="020B0604020202020204" pitchFamily="34" charset="0"/>
              </a:rPr>
              <a:t>always have 3 levels per factor</a:t>
            </a:r>
            <a:r>
              <a:rPr lang="en-US" sz="1507" dirty="0">
                <a:latin typeface="Arial" panose="020B0604020202020204" pitchFamily="34" charset="0"/>
                <a:cs typeface="Arial" panose="020B0604020202020204" pitchFamily="34" charset="0"/>
              </a:rPr>
              <a:t>, unlike central composite designs which can have up to 5. Also unlike central composite designs, Box-</a:t>
            </a:r>
            <a:r>
              <a:rPr lang="en-US" sz="1507" dirty="0" err="1">
                <a:latin typeface="Arial" panose="020B0604020202020204" pitchFamily="34" charset="0"/>
                <a:cs typeface="Arial" panose="020B0604020202020204" pitchFamily="34" charset="0"/>
              </a:rPr>
              <a:t>Behnken</a:t>
            </a:r>
            <a:r>
              <a:rPr lang="en-US" sz="1507" dirty="0">
                <a:latin typeface="Arial" panose="020B0604020202020204" pitchFamily="34" charset="0"/>
                <a:cs typeface="Arial" panose="020B0604020202020204" pitchFamily="34" charset="0"/>
              </a:rPr>
              <a:t> designs never include runs where all factors are at their extreme setting, such as all of the low settings.</a:t>
            </a:r>
            <a:endParaRPr lang="en-IN" sz="150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474291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entral Composite designs (CCD)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just" latinLnBrk="0">
              <a:lnSpc>
                <a:spcPct val="150000"/>
              </a:lnSpc>
              <a:buNone/>
            </a:pPr>
            <a:r>
              <a:rPr lang="en-US" sz="2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al Composite designs (CCD)</a:t>
            </a:r>
          </a:p>
          <a:p>
            <a:pPr algn="just" latinLnBrk="0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 central composite design is the most commonly used response surface designed experiment. </a:t>
            </a:r>
            <a:r>
              <a:rPr 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al composite designs are a factorial or fractional factorial design with center points, augmented with a group of axial points (also called star points) that let you estimate curvature.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You can use a central composite design to: </a:t>
            </a:r>
          </a:p>
          <a:p>
            <a:pPr lvl="1" algn="just" latinLnBrk="0"/>
            <a:r>
              <a:rPr lang="en-US" sz="1907" dirty="0">
                <a:latin typeface="Arial" panose="020B0604020202020204" pitchFamily="34" charset="0"/>
                <a:cs typeface="Arial" panose="020B0604020202020204" pitchFamily="34" charset="0"/>
              </a:rPr>
              <a:t>Efficiently estimate first- and second-order terms.</a:t>
            </a:r>
          </a:p>
          <a:p>
            <a:pPr lvl="1" algn="just" latinLnBrk="0"/>
            <a:r>
              <a:rPr lang="en-US" sz="1907" dirty="0">
                <a:latin typeface="Arial" panose="020B0604020202020204" pitchFamily="34" charset="0"/>
                <a:cs typeface="Arial" panose="020B0604020202020204" pitchFamily="34" charset="0"/>
              </a:rPr>
              <a:t>Model a response variable with curvature by adding center and axial points to a previously-done factorial design.</a:t>
            </a:r>
          </a:p>
          <a:p>
            <a:pPr algn="just" latinLnBrk="0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entral composite designs are especially useful in sequential experiments because you can often build on previous factorial experiments by adding axial and center points.</a:t>
            </a:r>
          </a:p>
        </p:txBody>
      </p:sp>
    </p:spTree>
    <p:extLst>
      <p:ext uri="{BB962C8B-B14F-4D97-AF65-F5344CB8AC3E}">
        <p14:creationId xmlns:p14="http://schemas.microsoft.com/office/powerpoint/2010/main" val="402354199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entral Composite designs (CCD)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just" latinLnBrk="0">
              <a:lnSpc>
                <a:spcPct val="150000"/>
              </a:lnSpc>
              <a:buNone/>
            </a:pPr>
            <a:r>
              <a:rPr lang="en-US" sz="2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al Composite designs (CCD)</a:t>
            </a:r>
          </a:p>
          <a:p>
            <a:pPr algn="just" latinLnBrk="0">
              <a:lnSpc>
                <a:spcPct val="150000"/>
              </a:lnSpc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or example, you would like to determine the best conditions for injection-molding a plastic part. You first run a factorial experiment and determine the significant factors: temperature (levels set at 190° and 210°) and pressure (levels set at 50MPa and 100MPa). If the factorial design detects curvature, you can use a response surface designed experiment to determine the optimal settings for each factor. </a:t>
            </a:r>
          </a:p>
        </p:txBody>
      </p:sp>
    </p:spTree>
    <p:extLst>
      <p:ext uri="{BB962C8B-B14F-4D97-AF65-F5344CB8AC3E}">
        <p14:creationId xmlns:p14="http://schemas.microsoft.com/office/powerpoint/2010/main" val="23428728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6668" y="74044"/>
            <a:ext cx="10349524" cy="431800"/>
          </a:xfrm>
        </p:spPr>
        <p:txBody>
          <a:bodyPr/>
          <a:lstStyle/>
          <a:p>
            <a:pPr marL="0" indent="0" algn="just" eaLnBrk="1" latinLnBrk="0">
              <a:lnSpc>
                <a:spcPct val="150000"/>
              </a:lnSpc>
              <a:buNone/>
            </a:pPr>
            <a:r>
              <a:rPr lang="en-IN" dirty="0">
                <a:ea typeface="Verdana" panose="020B0604030504040204" pitchFamily="34" charset="0"/>
              </a:rPr>
              <a:t>Assumptions of Linearity in two-level desig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6666" y="836712"/>
            <a:ext cx="7177950" cy="4788532"/>
          </a:xfrm>
        </p:spPr>
        <p:txBody>
          <a:bodyPr/>
          <a:lstStyle/>
          <a:p>
            <a:pPr algn="just" eaLnBrk="1" latinLnBrk="0">
              <a:lnSpc>
                <a:spcPct val="150000"/>
              </a:lnSpc>
            </a:pPr>
            <a:r>
              <a:rPr lang="en-US" sz="2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wo-level factorial designs assumes linearity of response</a:t>
            </a:r>
          </a:p>
          <a:p>
            <a:pPr algn="just" eaLnBrk="1" latinLnBrk="0">
              <a:lnSpc>
                <a:spcPct val="150000"/>
              </a:lnSpc>
            </a:pPr>
            <a:r>
              <a:rPr lang="en-US" sz="2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n reality, the response may not be linear</a:t>
            </a:r>
          </a:p>
          <a:p>
            <a:pPr algn="just" eaLnBrk="1" latinLnBrk="0">
              <a:lnSpc>
                <a:spcPct val="150000"/>
              </a:lnSpc>
            </a:pPr>
            <a:r>
              <a:rPr lang="en-US" sz="2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e more the curvature or non-linearity, the more will be error in the prediction of interim values.</a:t>
            </a:r>
            <a:endParaRPr lang="en-US" sz="2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8DD913C-BEF5-B4C7-DF4F-C5E34710F33B}"/>
              </a:ext>
            </a:extLst>
          </p:cNvPr>
          <p:cNvCxnSpPr>
            <a:cxnSpLocks/>
          </p:cNvCxnSpPr>
          <p:nvPr/>
        </p:nvCxnSpPr>
        <p:spPr bwMode="auto">
          <a:xfrm>
            <a:off x="8616280" y="3264312"/>
            <a:ext cx="0" cy="2988332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A7463A4-7899-2B49-D788-55600FC05029}"/>
              </a:ext>
            </a:extLst>
          </p:cNvPr>
          <p:cNvCxnSpPr>
            <a:cxnSpLocks/>
          </p:cNvCxnSpPr>
          <p:nvPr/>
        </p:nvCxnSpPr>
        <p:spPr bwMode="auto">
          <a:xfrm flipH="1">
            <a:off x="8616280" y="6252644"/>
            <a:ext cx="3204356" cy="0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C5663E4-0721-5E47-99B3-B7909FBBDF5A}"/>
              </a:ext>
            </a:extLst>
          </p:cNvPr>
          <p:cNvCxnSpPr>
            <a:cxnSpLocks/>
          </p:cNvCxnSpPr>
          <p:nvPr/>
        </p:nvCxnSpPr>
        <p:spPr bwMode="auto">
          <a:xfrm>
            <a:off x="9096844" y="5352544"/>
            <a:ext cx="0" cy="900100"/>
          </a:xfrm>
          <a:prstGeom prst="line">
            <a:avLst/>
          </a:prstGeom>
          <a:ln w="28575">
            <a:prstDash val="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F37BABC-3787-3CC9-6C2E-7CD8A6A68B1E}"/>
              </a:ext>
            </a:extLst>
          </p:cNvPr>
          <p:cNvCxnSpPr>
            <a:cxnSpLocks/>
          </p:cNvCxnSpPr>
          <p:nvPr/>
        </p:nvCxnSpPr>
        <p:spPr bwMode="auto">
          <a:xfrm>
            <a:off x="11460596" y="3264312"/>
            <a:ext cx="0" cy="2988332"/>
          </a:xfrm>
          <a:prstGeom prst="line">
            <a:avLst/>
          </a:prstGeom>
          <a:ln w="28575">
            <a:prstDash val="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5ABDBAA-E904-9132-F8C9-6892C1377112}"/>
              </a:ext>
            </a:extLst>
          </p:cNvPr>
          <p:cNvCxnSpPr>
            <a:cxnSpLocks/>
          </p:cNvCxnSpPr>
          <p:nvPr/>
        </p:nvCxnSpPr>
        <p:spPr bwMode="auto">
          <a:xfrm>
            <a:off x="10164452" y="4344432"/>
            <a:ext cx="0" cy="1908212"/>
          </a:xfrm>
          <a:prstGeom prst="line">
            <a:avLst/>
          </a:prstGeom>
          <a:ln w="28575">
            <a:prstDash val="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B6972F4-241D-030C-9B1A-B995A7A0B874}"/>
              </a:ext>
            </a:extLst>
          </p:cNvPr>
          <p:cNvCxnSpPr>
            <a:cxnSpLocks/>
          </p:cNvCxnSpPr>
          <p:nvPr/>
        </p:nvCxnSpPr>
        <p:spPr bwMode="auto">
          <a:xfrm flipH="1">
            <a:off x="9096844" y="3156300"/>
            <a:ext cx="2363752" cy="2196244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54E29B32-3CF2-41C9-5E23-2624D07CEB94}"/>
              </a:ext>
            </a:extLst>
          </p:cNvPr>
          <p:cNvSpPr/>
          <p:nvPr/>
        </p:nvSpPr>
        <p:spPr>
          <a:xfrm>
            <a:off x="10074452" y="4281793"/>
            <a:ext cx="180000" cy="18000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50" b="1" dirty="0">
              <a:solidFill>
                <a:schemeClr val="tx1"/>
              </a:solidFill>
            </a:endParaRPr>
          </a:p>
        </p:txBody>
      </p:sp>
      <p:sp>
        <p:nvSpPr>
          <p:cNvPr id="20" name="Moon 19">
            <a:extLst>
              <a:ext uri="{FF2B5EF4-FFF2-40B4-BE49-F238E27FC236}">
                <a16:creationId xmlns:a16="http://schemas.microsoft.com/office/drawing/2014/main" id="{82F01493-0BD4-B55A-A5B6-8BA44FF6564B}"/>
              </a:ext>
            </a:extLst>
          </p:cNvPr>
          <p:cNvSpPr/>
          <p:nvPr/>
        </p:nvSpPr>
        <p:spPr>
          <a:xfrm rot="2910988">
            <a:off x="9412588" y="2233388"/>
            <a:ext cx="1024545" cy="3194038"/>
          </a:xfrm>
          <a:prstGeom prst="moon">
            <a:avLst>
              <a:gd name="adj" fmla="val 479"/>
            </a:avLst>
          </a:prstGeom>
          <a:ln w="28575">
            <a:prstDash val="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sz="1050" b="1" dirty="0">
              <a:solidFill>
                <a:schemeClr val="tx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16E03A9-C469-A799-F238-5898222B85F1}"/>
              </a:ext>
            </a:extLst>
          </p:cNvPr>
          <p:cNvSpPr txBox="1"/>
          <p:nvPr/>
        </p:nvSpPr>
        <p:spPr>
          <a:xfrm>
            <a:off x="9985557" y="6301581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800" b="1" dirty="0"/>
              <a:t>0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DEB71A9-806D-EDE5-B14D-DF4FF46210E7}"/>
              </a:ext>
            </a:extLst>
          </p:cNvPr>
          <p:cNvSpPr txBox="1"/>
          <p:nvPr/>
        </p:nvSpPr>
        <p:spPr>
          <a:xfrm>
            <a:off x="11281701" y="6332781"/>
            <a:ext cx="4844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800" b="1" dirty="0"/>
              <a:t>+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ADE7166-15C3-3D13-CA98-E0A757EEE795}"/>
              </a:ext>
            </a:extLst>
          </p:cNvPr>
          <p:cNvSpPr txBox="1"/>
          <p:nvPr/>
        </p:nvSpPr>
        <p:spPr>
          <a:xfrm>
            <a:off x="8917949" y="6300035"/>
            <a:ext cx="4138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800" b="1" dirty="0"/>
              <a:t>-1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25D8277-A617-C45D-0EA8-1670229BC20A}"/>
              </a:ext>
            </a:extLst>
          </p:cNvPr>
          <p:cNvSpPr txBox="1"/>
          <p:nvPr/>
        </p:nvSpPr>
        <p:spPr>
          <a:xfrm>
            <a:off x="8211099" y="3522630"/>
            <a:ext cx="34977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400" b="1" dirty="0"/>
              <a:t>y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EF282674-2668-51AB-4CD8-A387A2DE643A}"/>
              </a:ext>
            </a:extLst>
          </p:cNvPr>
          <p:cNvCxnSpPr>
            <a:cxnSpLocks/>
          </p:cNvCxnSpPr>
          <p:nvPr/>
        </p:nvCxnSpPr>
        <p:spPr bwMode="auto">
          <a:xfrm>
            <a:off x="10074452" y="3264312"/>
            <a:ext cx="0" cy="921943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29" name="Speech Bubble: Rectangle with Corners Rounded 28">
            <a:extLst>
              <a:ext uri="{FF2B5EF4-FFF2-40B4-BE49-F238E27FC236}">
                <a16:creationId xmlns:a16="http://schemas.microsoft.com/office/drawing/2014/main" id="{155A721A-3E3C-D2D4-E91E-2F278BE9C0E1}"/>
              </a:ext>
            </a:extLst>
          </p:cNvPr>
          <p:cNvSpPr/>
          <p:nvPr/>
        </p:nvSpPr>
        <p:spPr>
          <a:xfrm>
            <a:off x="7962642" y="1944626"/>
            <a:ext cx="3924435" cy="767750"/>
          </a:xfrm>
          <a:prstGeom prst="wedgeRoundRectCallout">
            <a:avLst>
              <a:gd name="adj1" fmla="val 4797"/>
              <a:gd name="adj2" fmla="val 176308"/>
              <a:gd name="adj3" fmla="val 16667"/>
            </a:avLst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e linearity is not large, the error in predicting interim values predicted by the model can be large.</a:t>
            </a:r>
          </a:p>
        </p:txBody>
      </p:sp>
    </p:spTree>
    <p:extLst>
      <p:ext uri="{BB962C8B-B14F-4D97-AF65-F5344CB8AC3E}">
        <p14:creationId xmlns:p14="http://schemas.microsoft.com/office/powerpoint/2010/main" val="365658895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entral Composite designs (CCD)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just" latinLnBrk="0">
              <a:lnSpc>
                <a:spcPct val="150000"/>
              </a:lnSpc>
              <a:buNone/>
            </a:pPr>
            <a:r>
              <a:rPr lang="en-US" sz="2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al Composite designs (CCD)..</a:t>
            </a:r>
            <a:r>
              <a:rPr 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ed</a:t>
            </a:r>
          </a:p>
          <a:p>
            <a:pPr marL="0" indent="0" algn="just" latinLnBrk="0">
              <a:lnSpc>
                <a:spcPct val="150000"/>
              </a:lnSpc>
              <a:buNone/>
            </a:pPr>
            <a:endParaRPr lang="en-US" sz="24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b="16790"/>
          <a:stretch/>
        </p:blipFill>
        <p:spPr>
          <a:xfrm>
            <a:off x="1487488" y="1643562"/>
            <a:ext cx="9553575" cy="4089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05656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entral Composite designs (CCD)</a:t>
            </a: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1797732" y="1148416"/>
            <a:ext cx="7772400" cy="457200"/>
          </a:xfrm>
          <a:prstGeom prst="rect">
            <a:avLst/>
          </a:prstGeom>
        </p:spPr>
        <p:txBody>
          <a:bodyPr/>
          <a:lstStyle>
            <a:lvl1pPr marL="422041" indent="-422041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•"/>
              <a:defRPr kumimoji="1" sz="3939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23" indent="-351701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–"/>
              <a:defRPr kumimoji="1" sz="3446">
                <a:solidFill>
                  <a:schemeClr val="tx1"/>
                </a:solidFill>
                <a:latin typeface="+mn-lt"/>
                <a:ea typeface="+mn-ea"/>
              </a:defRPr>
            </a:lvl2pPr>
            <a:lvl3pPr marL="1406804" indent="-281361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•"/>
              <a:defRPr kumimoji="1" sz="2954">
                <a:solidFill>
                  <a:schemeClr val="tx1"/>
                </a:solidFill>
                <a:latin typeface="+mn-lt"/>
                <a:ea typeface="+mn-ea"/>
              </a:defRPr>
            </a:lvl3pPr>
            <a:lvl4pPr marL="1969526" indent="-281361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–"/>
              <a:defRPr kumimoji="1" sz="2462">
                <a:solidFill>
                  <a:schemeClr val="tx1"/>
                </a:solidFill>
                <a:latin typeface="+mn-lt"/>
                <a:ea typeface="+mn-ea"/>
              </a:defRPr>
            </a:lvl4pPr>
            <a:lvl5pPr marL="2532248" indent="-281361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462">
                <a:solidFill>
                  <a:schemeClr val="tx1"/>
                </a:solidFill>
                <a:latin typeface="+mn-lt"/>
                <a:ea typeface="+mn-ea"/>
              </a:defRPr>
            </a:lvl5pPr>
            <a:lvl6pPr marL="3094970" indent="-281361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462">
                <a:solidFill>
                  <a:schemeClr val="tx1"/>
                </a:solidFill>
                <a:latin typeface="+mn-lt"/>
                <a:ea typeface="+mn-ea"/>
              </a:defRPr>
            </a:lvl6pPr>
            <a:lvl7pPr marL="3657691" indent="-281361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462">
                <a:solidFill>
                  <a:schemeClr val="tx1"/>
                </a:solidFill>
                <a:latin typeface="+mn-lt"/>
                <a:ea typeface="+mn-ea"/>
              </a:defRPr>
            </a:lvl7pPr>
            <a:lvl8pPr marL="4220413" indent="-281361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462">
                <a:solidFill>
                  <a:schemeClr val="tx1"/>
                </a:solidFill>
                <a:latin typeface="+mn-lt"/>
                <a:ea typeface="+mn-ea"/>
              </a:defRPr>
            </a:lvl8pPr>
            <a:lvl9pPr marL="4783135" indent="-281361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462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buFontTx/>
              <a:buNone/>
            </a:pPr>
            <a:r>
              <a:rPr lang="en-GB" altLang="en-US" kern="0" dirty="0">
                <a:latin typeface="Arial" panose="020B0604020202020204" pitchFamily="34" charset="0"/>
                <a:cs typeface="Arial" panose="020B0604020202020204" pitchFamily="34" charset="0"/>
              </a:rPr>
              <a:t>Three parts:</a:t>
            </a: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1645332" y="1777066"/>
            <a:ext cx="25908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GB" altLang="en-US" sz="1800" i="1"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endParaRPr lang="en-GB" alt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GB" altLang="en-US" sz="1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orial or reduced factorial design</a:t>
            </a:r>
            <a:br>
              <a:rPr lang="en-GB" altLang="en-US" sz="1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en-US" sz="1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en-US" sz="1800">
                <a:latin typeface="Arial" panose="020B0604020202020204" pitchFamily="34" charset="0"/>
                <a:cs typeface="Arial" panose="020B0604020202020204" pitchFamily="34" charset="0"/>
              </a:rPr>
              <a:t>Estimate of main effects and interactions</a:t>
            </a:r>
          </a:p>
        </p:txBody>
      </p:sp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4388532" y="1777066"/>
            <a:ext cx="2590800" cy="217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GB" altLang="en-US" sz="1800" i="1" dirty="0"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lang="en-GB" alt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GB" altLang="en-US" sz="18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least one center point experiment</a:t>
            </a:r>
            <a:br>
              <a:rPr lang="en-GB" altLang="en-US" sz="18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en-US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ossible to reveal curvature and estimate the experimental error</a:t>
            </a: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7284132" y="1777066"/>
            <a:ext cx="25908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GB" altLang="en-US" sz="1800" i="1"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endParaRPr lang="en-GB" alt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GB" altLang="en-US" sz="1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s </a:t>
            </a:r>
            <a:r>
              <a:rPr lang="en-GB" altLang="en-US" sz="1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 on the variable axes</a:t>
            </a:r>
            <a:br>
              <a:rPr lang="en-GB" altLang="en-US" sz="180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en-US" sz="18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en-US" sz="1800">
                <a:latin typeface="Arial" panose="020B0604020202020204" pitchFamily="34" charset="0"/>
                <a:cs typeface="Arial" panose="020B0604020202020204" pitchFamily="34" charset="0"/>
              </a:rPr>
              <a:t>Possible to estimate quadratic terms</a:t>
            </a:r>
          </a:p>
        </p:txBody>
      </p:sp>
      <p:graphicFrame>
        <p:nvGraphicFramePr>
          <p:cNvPr id="9" name="Object 2"/>
          <p:cNvGraphicFramePr>
            <a:graphicFrameLocks noChangeAspect="1"/>
          </p:cNvGraphicFramePr>
          <p:nvPr/>
        </p:nvGraphicFramePr>
        <p:xfrm>
          <a:off x="7969932" y="3891616"/>
          <a:ext cx="1150938" cy="3254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ormel" r:id="rId3" imgW="672808" imgH="253890" progId="Equation.3">
                  <p:embed/>
                </p:oleObj>
              </mc:Choice>
              <mc:Fallback>
                <p:oleObj name="Formel" r:id="rId3" imgW="672808" imgH="253890" progId="Equation.3">
                  <p:embed/>
                  <p:pic>
                    <p:nvPicPr>
                      <p:cNvPr id="9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69932" y="3891616"/>
                        <a:ext cx="1150938" cy="3254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5172942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800" dirty="0"/>
              <a:t>Central Composite designs (CCD)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68" y="938686"/>
            <a:ext cx="1964776" cy="1742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756" y="4668810"/>
            <a:ext cx="2381250" cy="213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101" y="2785882"/>
            <a:ext cx="2011238" cy="1777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1849" y="1402346"/>
            <a:ext cx="2743200" cy="474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6066892" y="869484"/>
            <a:ext cx="5933764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hangingPunct="1">
              <a:lnSpc>
                <a:spcPct val="150000"/>
              </a:lnSpc>
              <a:defRPr/>
            </a:pPr>
            <a:r>
              <a:rPr lang="en-US" sz="2400" dirty="0">
                <a:latin typeface="Arial" charset="0"/>
                <a:cs typeface="Arial" charset="0"/>
              </a:rPr>
              <a:t>Central Composite Design (CCD) has three different design points: edge points as in two‐ level designs (±1), star points at ±</a:t>
            </a:r>
            <a:r>
              <a:rPr lang="el-GR" sz="2400" dirty="0">
                <a:latin typeface="Arial" charset="0"/>
                <a:cs typeface="Arial" charset="0"/>
              </a:rPr>
              <a:t>α; </a:t>
            </a:r>
            <a:r>
              <a:rPr lang="he-IL" sz="2400" dirty="0">
                <a:latin typeface="Arial" charset="0"/>
                <a:cs typeface="Arial" charset="0"/>
              </a:rPr>
              <a:t>׀</a:t>
            </a:r>
            <a:r>
              <a:rPr lang="el-GR" sz="2400" dirty="0">
                <a:latin typeface="Arial" charset="0"/>
                <a:cs typeface="Arial" charset="0"/>
              </a:rPr>
              <a:t>α</a:t>
            </a:r>
            <a:r>
              <a:rPr lang="he-IL" sz="2400" dirty="0">
                <a:latin typeface="Arial" charset="0"/>
                <a:cs typeface="Arial" charset="0"/>
              </a:rPr>
              <a:t>׀ ׀≤1 </a:t>
            </a:r>
            <a:r>
              <a:rPr lang="en-US" sz="2400" dirty="0">
                <a:latin typeface="Arial" charset="0"/>
                <a:cs typeface="Arial" charset="0"/>
              </a:rPr>
              <a:t>that take care of quadratic effects and centre points, </a:t>
            </a:r>
          </a:p>
          <a:p>
            <a:pPr algn="just" eaLnBrk="1" hangingPunct="1">
              <a:lnSpc>
                <a:spcPct val="150000"/>
              </a:lnSpc>
              <a:defRPr/>
            </a:pPr>
            <a:endParaRPr lang="en-US" sz="2400" dirty="0">
              <a:latin typeface="Arial" charset="0"/>
              <a:cs typeface="Arial" charset="0"/>
            </a:endParaRPr>
          </a:p>
          <a:p>
            <a:pPr algn="just" eaLnBrk="1" hangingPunct="1">
              <a:lnSpc>
                <a:spcPct val="150000"/>
              </a:lnSpc>
              <a:defRPr/>
            </a:pPr>
            <a:r>
              <a:rPr lang="en-US" sz="2400" dirty="0">
                <a:latin typeface="Arial" charset="0"/>
                <a:cs typeface="Arial" charset="0"/>
              </a:rPr>
              <a:t>Three variants exist: </a:t>
            </a:r>
          </a:p>
          <a:p>
            <a:pPr marL="457200" indent="-457200" algn="just" eaLnBrk="1" hangingPunct="1">
              <a:lnSpc>
                <a:spcPct val="150000"/>
              </a:lnSpc>
              <a:buFont typeface="+mj-lt"/>
              <a:buAutoNum type="arabicPeriod"/>
              <a:defRPr/>
            </a:pPr>
            <a:r>
              <a:rPr lang="en-US" sz="2400" dirty="0">
                <a:latin typeface="Arial" charset="0"/>
                <a:cs typeface="Arial" charset="0"/>
              </a:rPr>
              <a:t>Circumscribed (CCC)</a:t>
            </a:r>
          </a:p>
          <a:p>
            <a:pPr marL="457200" indent="-457200" algn="just" eaLnBrk="1" hangingPunct="1">
              <a:lnSpc>
                <a:spcPct val="150000"/>
              </a:lnSpc>
              <a:buFont typeface="+mj-lt"/>
              <a:buAutoNum type="arabicPeriod"/>
              <a:defRPr/>
            </a:pPr>
            <a:r>
              <a:rPr lang="en-US" sz="2400" dirty="0">
                <a:latin typeface="Arial" charset="0"/>
                <a:cs typeface="Arial" charset="0"/>
              </a:rPr>
              <a:t>Face centered (CCF)</a:t>
            </a:r>
          </a:p>
          <a:p>
            <a:pPr marL="457200" indent="-457200" algn="just" eaLnBrk="1" hangingPunct="1">
              <a:lnSpc>
                <a:spcPct val="150000"/>
              </a:lnSpc>
              <a:buFont typeface="+mj-lt"/>
              <a:buAutoNum type="arabicPeriod"/>
              <a:defRPr/>
            </a:pPr>
            <a:r>
              <a:rPr lang="en-US" sz="2400" dirty="0">
                <a:latin typeface="Arial" charset="0"/>
                <a:cs typeface="Arial" charset="0"/>
              </a:rPr>
              <a:t>Inscribed (CCI)</a:t>
            </a:r>
          </a:p>
        </p:txBody>
      </p:sp>
    </p:spTree>
    <p:extLst>
      <p:ext uri="{BB962C8B-B14F-4D97-AF65-F5344CB8AC3E}">
        <p14:creationId xmlns:p14="http://schemas.microsoft.com/office/powerpoint/2010/main" val="173169345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entral Composite designs (CCD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687043"/>
            <a:ext cx="12192000" cy="5627682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647728" y="6453336"/>
            <a:ext cx="28582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 err="1"/>
              <a:t>n</a:t>
            </a:r>
            <a:r>
              <a:rPr lang="en-IN" baseline="-25000" dirty="0" err="1"/>
              <a:t>f</a:t>
            </a:r>
            <a:r>
              <a:rPr lang="en-IN" dirty="0"/>
              <a:t> = The number of factorial run</a:t>
            </a:r>
          </a:p>
        </p:txBody>
      </p:sp>
    </p:spTree>
    <p:extLst>
      <p:ext uri="{BB962C8B-B14F-4D97-AF65-F5344CB8AC3E}">
        <p14:creationId xmlns:p14="http://schemas.microsoft.com/office/powerpoint/2010/main" val="407171600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entral Composite designs (CCD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388" y="1124744"/>
            <a:ext cx="10277475" cy="4772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79580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 Central composite rotatable design for two variables</a:t>
            </a:r>
            <a:endParaRPr lang="en-IN" sz="28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9400" y="1340768"/>
            <a:ext cx="6175059" cy="3754326"/>
          </a:xfrm>
          <a:prstGeom prst="rect">
            <a:avLst/>
          </a:prstGeom>
        </p:spPr>
      </p:pic>
      <p:sp>
        <p:nvSpPr>
          <p:cNvPr id="6" name="Text Box 6"/>
          <p:cNvSpPr txBox="1">
            <a:spLocks noChangeArrowheads="1"/>
          </p:cNvSpPr>
          <p:nvPr/>
        </p:nvSpPr>
        <p:spPr bwMode="auto">
          <a:xfrm>
            <a:off x="2927648" y="5013176"/>
            <a:ext cx="5715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GB" altLang="en-US" sz="1800" dirty="0">
                <a:latin typeface="Arial" panose="020B0604020202020204" pitchFamily="34" charset="0"/>
              </a:rPr>
              <a:t>Number of experiments: 	2</a:t>
            </a:r>
            <a:r>
              <a:rPr lang="en-GB" altLang="en-US" sz="1800" baseline="30000" dirty="0">
                <a:latin typeface="Arial" panose="020B0604020202020204" pitchFamily="34" charset="0"/>
              </a:rPr>
              <a:t>3</a:t>
            </a:r>
            <a:r>
              <a:rPr lang="en-GB" altLang="en-US" sz="1800" dirty="0">
                <a:latin typeface="Arial" panose="020B0604020202020204" pitchFamily="34" charset="0"/>
              </a:rPr>
              <a:t> + 4 + 6 = </a:t>
            </a:r>
            <a:r>
              <a:rPr lang="en-GB" altLang="en-US" sz="1800" u="sng" dirty="0">
                <a:latin typeface="Arial" panose="020B0604020202020204" pitchFamily="34" charset="0"/>
              </a:rPr>
              <a:t>18</a:t>
            </a:r>
            <a:endParaRPr lang="en-GB" altLang="en-US" sz="18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41604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 Central composite rotatable design for three variables</a:t>
            </a:r>
            <a:endParaRPr lang="en-IN" sz="28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76319" y="1317477"/>
            <a:ext cx="6039361" cy="4223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21080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entral Composite designs (CCD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72716"/>
            <a:ext cx="12191999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73655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entral Composite designs (CCD)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70" y="1305049"/>
            <a:ext cx="12182330" cy="501912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35360" y="772852"/>
            <a:ext cx="55302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/>
              <a:t>Number of runs required for CCD and its types, and 3</a:t>
            </a:r>
            <a:r>
              <a:rPr lang="en-IN" b="1" baseline="30000" dirty="0"/>
              <a:t>k</a:t>
            </a:r>
            <a:r>
              <a:rPr lang="en-IN" b="1" dirty="0"/>
              <a:t> design</a:t>
            </a:r>
          </a:p>
        </p:txBody>
      </p:sp>
    </p:spTree>
    <p:extLst>
      <p:ext uri="{BB962C8B-B14F-4D97-AF65-F5344CB8AC3E}">
        <p14:creationId xmlns:p14="http://schemas.microsoft.com/office/powerpoint/2010/main" val="423971769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Box-</a:t>
            </a:r>
            <a:r>
              <a:rPr lang="en-IN" dirty="0" err="1"/>
              <a:t>Behnken</a:t>
            </a:r>
            <a:r>
              <a:rPr lang="en-IN" dirty="0"/>
              <a:t> designs (BBD)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just" latinLnBrk="0">
              <a:lnSpc>
                <a:spcPct val="150000"/>
              </a:lnSpc>
              <a:buNone/>
            </a:pPr>
            <a:r>
              <a:rPr lang="en-US" sz="2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x-</a:t>
            </a:r>
            <a:r>
              <a:rPr lang="en-US" sz="2400" b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hnken</a:t>
            </a:r>
            <a:r>
              <a:rPr lang="en-US" sz="2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igns (BBD)</a:t>
            </a:r>
          </a:p>
          <a:p>
            <a:pPr algn="just" latinLnBrk="0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Box-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Behnken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designs have treatment combinations that are at the midpoints of the edges of the experimental space and require at least three continuous factors. The following figure shows a three-factor Box-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Behnken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design. Points on the diagram represent the experimental runs that are done:</a:t>
            </a:r>
          </a:p>
          <a:p>
            <a:pPr algn="just" latinLnBrk="0"/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7788" y="3276090"/>
            <a:ext cx="2781300" cy="286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3741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6668" y="74044"/>
            <a:ext cx="10349524" cy="431800"/>
          </a:xfrm>
        </p:spPr>
        <p:txBody>
          <a:bodyPr/>
          <a:lstStyle/>
          <a:p>
            <a:pPr marL="0" indent="0" algn="just" eaLnBrk="1" latinLnBrk="0">
              <a:lnSpc>
                <a:spcPct val="150000"/>
              </a:lnSpc>
              <a:buNone/>
            </a:pPr>
            <a:r>
              <a:rPr lang="en-IN" dirty="0">
                <a:ea typeface="Verdana" panose="020B0604030504040204" pitchFamily="34" charset="0"/>
              </a:rPr>
              <a:t>Assumptions of Linearity in two-level desig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6666" y="836712"/>
            <a:ext cx="7177950" cy="4788532"/>
          </a:xfrm>
        </p:spPr>
        <p:txBody>
          <a:bodyPr/>
          <a:lstStyle/>
          <a:p>
            <a:pPr algn="just" eaLnBrk="1" latinLnBrk="0">
              <a:lnSpc>
                <a:spcPct val="150000"/>
              </a:lnSpc>
            </a:pP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How to minimize effect of non-</a:t>
            </a:r>
            <a:r>
              <a:rPr lang="en-US" sz="2400" b="1" dirty="0" err="1">
                <a:solidFill>
                  <a:srgbClr val="FF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linearlity</a:t>
            </a:r>
            <a:endParaRPr lang="en-US" sz="2400" b="1" dirty="0">
              <a:solidFill>
                <a:srgbClr val="FF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 eaLnBrk="1" latinLnBrk="0">
              <a:lnSpc>
                <a:spcPct val="150000"/>
              </a:lnSpc>
            </a:pPr>
            <a:r>
              <a:rPr lang="en-US" sz="2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ne possible recommendation is to select levels of the factors as close as possible. </a:t>
            </a:r>
          </a:p>
          <a:p>
            <a:pPr algn="just" eaLnBrk="1" latinLnBrk="0">
              <a:lnSpc>
                <a:spcPct val="150000"/>
              </a:lnSpc>
            </a:pPr>
            <a:r>
              <a:rPr lang="en-US" sz="2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is will help reducing the error. However, it will affect the magnitude of the effect/ response.</a:t>
            </a:r>
            <a:endParaRPr lang="en-US" sz="2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8DD913C-BEF5-B4C7-DF4F-C5E34710F33B}"/>
              </a:ext>
            </a:extLst>
          </p:cNvPr>
          <p:cNvCxnSpPr>
            <a:cxnSpLocks/>
          </p:cNvCxnSpPr>
          <p:nvPr/>
        </p:nvCxnSpPr>
        <p:spPr bwMode="auto">
          <a:xfrm>
            <a:off x="8616280" y="3264312"/>
            <a:ext cx="0" cy="2988332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A7463A4-7899-2B49-D788-55600FC05029}"/>
              </a:ext>
            </a:extLst>
          </p:cNvPr>
          <p:cNvCxnSpPr>
            <a:cxnSpLocks/>
          </p:cNvCxnSpPr>
          <p:nvPr/>
        </p:nvCxnSpPr>
        <p:spPr bwMode="auto">
          <a:xfrm flipH="1">
            <a:off x="8616280" y="6252644"/>
            <a:ext cx="3204356" cy="0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C5663E4-0721-5E47-99B3-B7909FBBDF5A}"/>
              </a:ext>
            </a:extLst>
          </p:cNvPr>
          <p:cNvCxnSpPr>
            <a:cxnSpLocks/>
          </p:cNvCxnSpPr>
          <p:nvPr/>
        </p:nvCxnSpPr>
        <p:spPr bwMode="auto">
          <a:xfrm>
            <a:off x="9552384" y="5352544"/>
            <a:ext cx="0" cy="900100"/>
          </a:xfrm>
          <a:prstGeom prst="line">
            <a:avLst/>
          </a:prstGeom>
          <a:ln w="28575">
            <a:prstDash val="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F37BABC-3787-3CC9-6C2E-7CD8A6A68B1E}"/>
              </a:ext>
            </a:extLst>
          </p:cNvPr>
          <p:cNvCxnSpPr>
            <a:cxnSpLocks/>
          </p:cNvCxnSpPr>
          <p:nvPr/>
        </p:nvCxnSpPr>
        <p:spPr bwMode="auto">
          <a:xfrm>
            <a:off x="10884532" y="4032460"/>
            <a:ext cx="0" cy="2220184"/>
          </a:xfrm>
          <a:prstGeom prst="line">
            <a:avLst/>
          </a:prstGeom>
          <a:ln w="28575">
            <a:prstDash val="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5ABDBAA-E904-9132-F8C9-6892C1377112}"/>
              </a:ext>
            </a:extLst>
          </p:cNvPr>
          <p:cNvCxnSpPr>
            <a:cxnSpLocks/>
          </p:cNvCxnSpPr>
          <p:nvPr/>
        </p:nvCxnSpPr>
        <p:spPr bwMode="auto">
          <a:xfrm>
            <a:off x="10144415" y="4758478"/>
            <a:ext cx="20037" cy="1494166"/>
          </a:xfrm>
          <a:prstGeom prst="line">
            <a:avLst/>
          </a:prstGeom>
          <a:ln w="28575">
            <a:prstDash val="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B6972F4-241D-030C-9B1A-B995A7A0B874}"/>
              </a:ext>
            </a:extLst>
          </p:cNvPr>
          <p:cNvCxnSpPr>
            <a:cxnSpLocks/>
          </p:cNvCxnSpPr>
          <p:nvPr/>
        </p:nvCxnSpPr>
        <p:spPr bwMode="auto">
          <a:xfrm flipH="1">
            <a:off x="9552384" y="4046112"/>
            <a:ext cx="1332148" cy="1306432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54E29B32-3CF2-41C9-5E23-2624D07CEB94}"/>
              </a:ext>
            </a:extLst>
          </p:cNvPr>
          <p:cNvSpPr/>
          <p:nvPr/>
        </p:nvSpPr>
        <p:spPr>
          <a:xfrm>
            <a:off x="10054415" y="4644010"/>
            <a:ext cx="180000" cy="18000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50" b="1" dirty="0">
              <a:solidFill>
                <a:schemeClr val="tx1"/>
              </a:solidFill>
            </a:endParaRPr>
          </a:p>
        </p:txBody>
      </p:sp>
      <p:sp>
        <p:nvSpPr>
          <p:cNvPr id="20" name="Moon 19">
            <a:extLst>
              <a:ext uri="{FF2B5EF4-FFF2-40B4-BE49-F238E27FC236}">
                <a16:creationId xmlns:a16="http://schemas.microsoft.com/office/drawing/2014/main" id="{82F01493-0BD4-B55A-A5B6-8BA44FF6564B}"/>
              </a:ext>
            </a:extLst>
          </p:cNvPr>
          <p:cNvSpPr/>
          <p:nvPr/>
        </p:nvSpPr>
        <p:spPr>
          <a:xfrm rot="3017308">
            <a:off x="9731051" y="3536030"/>
            <a:ext cx="618844" cy="1642553"/>
          </a:xfrm>
          <a:prstGeom prst="moon">
            <a:avLst>
              <a:gd name="adj" fmla="val 0"/>
            </a:avLst>
          </a:prstGeom>
          <a:ln w="28575">
            <a:prstDash val="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sz="1050" b="1" dirty="0">
              <a:solidFill>
                <a:schemeClr val="tx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16E03A9-C469-A799-F238-5898222B85F1}"/>
              </a:ext>
            </a:extLst>
          </p:cNvPr>
          <p:cNvSpPr txBox="1"/>
          <p:nvPr/>
        </p:nvSpPr>
        <p:spPr>
          <a:xfrm>
            <a:off x="9985557" y="6301581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800" b="1" dirty="0"/>
              <a:t>0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DEB71A9-806D-EDE5-B14D-DF4FF46210E7}"/>
              </a:ext>
            </a:extLst>
          </p:cNvPr>
          <p:cNvSpPr txBox="1"/>
          <p:nvPr/>
        </p:nvSpPr>
        <p:spPr>
          <a:xfrm>
            <a:off x="11281701" y="6332781"/>
            <a:ext cx="4844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800" b="1" dirty="0"/>
              <a:t>+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ADE7166-15C3-3D13-CA98-E0A757EEE795}"/>
              </a:ext>
            </a:extLst>
          </p:cNvPr>
          <p:cNvSpPr txBox="1"/>
          <p:nvPr/>
        </p:nvSpPr>
        <p:spPr>
          <a:xfrm>
            <a:off x="8917949" y="6300035"/>
            <a:ext cx="4138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800" b="1" dirty="0"/>
              <a:t>-1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25D8277-A617-C45D-0EA8-1670229BC20A}"/>
              </a:ext>
            </a:extLst>
          </p:cNvPr>
          <p:cNvSpPr txBox="1"/>
          <p:nvPr/>
        </p:nvSpPr>
        <p:spPr>
          <a:xfrm>
            <a:off x="8211099" y="3522630"/>
            <a:ext cx="34977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400" b="1" dirty="0"/>
              <a:t>y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EF282674-2668-51AB-4CD8-A387A2DE643A}"/>
              </a:ext>
            </a:extLst>
          </p:cNvPr>
          <p:cNvCxnSpPr>
            <a:cxnSpLocks/>
          </p:cNvCxnSpPr>
          <p:nvPr/>
        </p:nvCxnSpPr>
        <p:spPr bwMode="auto">
          <a:xfrm>
            <a:off x="10054954" y="4135651"/>
            <a:ext cx="0" cy="458906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29" name="Speech Bubble: Rectangle with Corners Rounded 28">
            <a:extLst>
              <a:ext uri="{FF2B5EF4-FFF2-40B4-BE49-F238E27FC236}">
                <a16:creationId xmlns:a16="http://schemas.microsoft.com/office/drawing/2014/main" id="{155A721A-3E3C-D2D4-E91E-2F278BE9C0E1}"/>
              </a:ext>
            </a:extLst>
          </p:cNvPr>
          <p:cNvSpPr/>
          <p:nvPr/>
        </p:nvSpPr>
        <p:spPr>
          <a:xfrm>
            <a:off x="8256240" y="2004625"/>
            <a:ext cx="3924435" cy="767750"/>
          </a:xfrm>
          <a:prstGeom prst="wedgeRoundRectCallout">
            <a:avLst>
              <a:gd name="adj1" fmla="val -5559"/>
              <a:gd name="adj2" fmla="val 267619"/>
              <a:gd name="adj3" fmla="val 16667"/>
            </a:avLst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itude of effect will be reduced.</a:t>
            </a:r>
          </a:p>
        </p:txBody>
      </p:sp>
    </p:spTree>
    <p:extLst>
      <p:ext uri="{BB962C8B-B14F-4D97-AF65-F5344CB8AC3E}">
        <p14:creationId xmlns:p14="http://schemas.microsoft.com/office/powerpoint/2010/main" val="149914452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Box-</a:t>
            </a:r>
            <a:r>
              <a:rPr lang="en-IN" dirty="0" err="1"/>
              <a:t>Behnken</a:t>
            </a:r>
            <a:r>
              <a:rPr lang="en-IN" dirty="0"/>
              <a:t> designs (BBD)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just" latinLnBrk="0">
              <a:lnSpc>
                <a:spcPct val="150000"/>
              </a:lnSpc>
              <a:buNone/>
            </a:pPr>
            <a:r>
              <a:rPr lang="en-US" sz="2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x-</a:t>
            </a:r>
            <a:r>
              <a:rPr lang="en-US" sz="2400" b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hnken</a:t>
            </a:r>
            <a:r>
              <a:rPr lang="en-US" sz="2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igns (BBD)</a:t>
            </a:r>
          </a:p>
          <a:p>
            <a:pPr algn="just" latinLnBrk="0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 Box-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Behnken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design is a type of response surface design that </a:t>
            </a:r>
            <a:r>
              <a:rPr lang="en-US" sz="24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es not contain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n embedded factorial or fractional factorial design.</a:t>
            </a:r>
          </a:p>
          <a:p>
            <a:pPr algn="just" latinLnBrk="0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or example, you would like to determine the best conditions for injection-molding a plastic part. The factors you can set are:</a:t>
            </a:r>
          </a:p>
          <a:p>
            <a:pPr lvl="1" algn="just" latinLnBrk="0"/>
            <a:r>
              <a:rPr lang="en-US" sz="1907" dirty="0">
                <a:latin typeface="Arial" panose="020B0604020202020204" pitchFamily="34" charset="0"/>
                <a:cs typeface="Arial" panose="020B0604020202020204" pitchFamily="34" charset="0"/>
              </a:rPr>
              <a:t>Temperature: 190° and 210°</a:t>
            </a:r>
          </a:p>
          <a:p>
            <a:pPr lvl="1" algn="just" latinLnBrk="0"/>
            <a:r>
              <a:rPr lang="en-US" sz="1907" dirty="0">
                <a:latin typeface="Arial" panose="020B0604020202020204" pitchFamily="34" charset="0"/>
                <a:cs typeface="Arial" panose="020B0604020202020204" pitchFamily="34" charset="0"/>
              </a:rPr>
              <a:t>Pressure: 50Mpa and 100Mpa</a:t>
            </a:r>
          </a:p>
          <a:p>
            <a:pPr lvl="1" algn="just" latinLnBrk="0"/>
            <a:r>
              <a:rPr lang="en-US" sz="1907" dirty="0">
                <a:latin typeface="Arial" panose="020B0604020202020204" pitchFamily="34" charset="0"/>
                <a:cs typeface="Arial" panose="020B0604020202020204" pitchFamily="34" charset="0"/>
              </a:rPr>
              <a:t>Injection speed: 10 mm/s and 50 mm/s</a:t>
            </a:r>
          </a:p>
          <a:p>
            <a:pPr algn="just" latinLnBrk="0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or a Box-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Behnken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design, the design points fall at combinations of the high and low factor levels and their midpoints:</a:t>
            </a:r>
          </a:p>
          <a:p>
            <a:pPr lvl="1" algn="just" latinLnBrk="0"/>
            <a:r>
              <a:rPr lang="en-US" sz="1907" dirty="0">
                <a:latin typeface="Arial" panose="020B0604020202020204" pitchFamily="34" charset="0"/>
                <a:cs typeface="Arial" panose="020B0604020202020204" pitchFamily="34" charset="0"/>
              </a:rPr>
              <a:t>Temperature: 190°, 200°, and 210°</a:t>
            </a:r>
          </a:p>
          <a:p>
            <a:pPr lvl="1" algn="just" latinLnBrk="0"/>
            <a:r>
              <a:rPr lang="en-US" sz="1907" dirty="0">
                <a:latin typeface="Arial" panose="020B0604020202020204" pitchFamily="34" charset="0"/>
                <a:cs typeface="Arial" panose="020B0604020202020204" pitchFamily="34" charset="0"/>
              </a:rPr>
              <a:t>Pressure: 50Mpa, 75Mpa, and 100Mpa</a:t>
            </a:r>
          </a:p>
          <a:p>
            <a:pPr lvl="1" algn="just" latinLnBrk="0"/>
            <a:r>
              <a:rPr lang="en-US" sz="1907" dirty="0">
                <a:latin typeface="Arial" panose="020B0604020202020204" pitchFamily="34" charset="0"/>
                <a:cs typeface="Arial" panose="020B0604020202020204" pitchFamily="34" charset="0"/>
              </a:rPr>
              <a:t>Injection speed: 10 mm/s, 30 mm/s, and 50 mm/s</a:t>
            </a:r>
          </a:p>
        </p:txBody>
      </p:sp>
    </p:spTree>
    <p:extLst>
      <p:ext uri="{BB962C8B-B14F-4D97-AF65-F5344CB8AC3E}">
        <p14:creationId xmlns:p14="http://schemas.microsoft.com/office/powerpoint/2010/main" val="427826835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Box-</a:t>
            </a:r>
            <a:r>
              <a:rPr lang="en-IN" dirty="0" err="1"/>
              <a:t>Behnken</a:t>
            </a:r>
            <a:r>
              <a:rPr lang="en-IN" dirty="0"/>
              <a:t> designs (BBD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52736"/>
            <a:ext cx="11734800" cy="4067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17295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Box-</a:t>
            </a:r>
            <a:r>
              <a:rPr lang="en-IN" dirty="0" err="1"/>
              <a:t>Behnken</a:t>
            </a:r>
            <a:r>
              <a:rPr lang="en-IN" dirty="0"/>
              <a:t> designs (BBD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3362" y="944724"/>
            <a:ext cx="11725275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62169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Box-</a:t>
            </a:r>
            <a:r>
              <a:rPr lang="en-IN" dirty="0" err="1"/>
              <a:t>Behnken</a:t>
            </a:r>
            <a:r>
              <a:rPr lang="en-IN" dirty="0"/>
              <a:t> designs (BBD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737" y="733425"/>
            <a:ext cx="11820525" cy="5391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1710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Box-</a:t>
            </a:r>
            <a:r>
              <a:rPr lang="en-IN" dirty="0" err="1"/>
              <a:t>Behnken</a:t>
            </a:r>
            <a:r>
              <a:rPr lang="en-IN" dirty="0"/>
              <a:t> designs (BBD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975" y="1268760"/>
            <a:ext cx="11830050" cy="536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75951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BF992C-F1AA-4A66-8CC7-87949E2D5226}" type="slidenum">
              <a:rPr lang="en-US" altLang="ko-KR" smtClean="0"/>
              <a:pPr>
                <a:defRPr/>
              </a:pPr>
              <a:t>65</a:t>
            </a:fld>
            <a:endParaRPr lang="en-US" altLang="ko-KR"/>
          </a:p>
        </p:txBody>
      </p:sp>
      <p:sp>
        <p:nvSpPr>
          <p:cNvPr id="6" name="Text Placeholder 5"/>
          <p:cNvSpPr>
            <a:spLocks noGrp="1"/>
          </p:cNvSpPr>
          <p:nvPr>
            <p:ph type="body" sz="half" idx="2"/>
          </p:nvPr>
        </p:nvSpPr>
        <p:spPr>
          <a:xfrm>
            <a:off x="2397958" y="3140968"/>
            <a:ext cx="7315200" cy="804862"/>
          </a:xfrm>
        </p:spPr>
        <p:txBody>
          <a:bodyPr/>
          <a:lstStyle/>
          <a:p>
            <a:pPr algn="ctr"/>
            <a:r>
              <a:rPr lang="en-IN" sz="4400" dirty="0"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56733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E950338-0F23-F3F0-E956-9971545FD5A0}"/>
              </a:ext>
            </a:extLst>
          </p:cNvPr>
          <p:cNvSpPr/>
          <p:nvPr/>
        </p:nvSpPr>
        <p:spPr>
          <a:xfrm>
            <a:off x="9026351" y="3858565"/>
            <a:ext cx="2273403" cy="1930890"/>
          </a:xfrm>
          <a:prstGeom prst="rect">
            <a:avLst/>
          </a:prstGeom>
          <a:solidFill>
            <a:srgbClr val="FFFF00"/>
          </a:solidFill>
          <a:ln w="2857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sz="1050" b="1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6668" y="74044"/>
            <a:ext cx="10349524" cy="431800"/>
          </a:xfrm>
        </p:spPr>
        <p:txBody>
          <a:bodyPr/>
          <a:lstStyle/>
          <a:p>
            <a:pPr marL="0" indent="0" algn="just" eaLnBrk="1" latinLnBrk="0">
              <a:lnSpc>
                <a:spcPct val="150000"/>
              </a:lnSpc>
              <a:buNone/>
            </a:pPr>
            <a:r>
              <a:rPr lang="en-IN" dirty="0">
                <a:ea typeface="Verdana" panose="020B0604030504040204" pitchFamily="34" charset="0"/>
              </a:rPr>
              <a:t>Addition of </a:t>
            </a:r>
            <a:r>
              <a:rPr lang="en-IN" dirty="0" err="1">
                <a:ea typeface="Verdana" panose="020B0604030504040204" pitchFamily="34" charset="0"/>
              </a:rPr>
              <a:t>Center</a:t>
            </a:r>
            <a:r>
              <a:rPr lang="en-IN" dirty="0">
                <a:ea typeface="Verdana" panose="020B0604030504040204" pitchFamily="34" charset="0"/>
              </a:rPr>
              <a:t> Poi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6666" y="836712"/>
            <a:ext cx="7177950" cy="4788532"/>
          </a:xfrm>
        </p:spPr>
        <p:txBody>
          <a:bodyPr/>
          <a:lstStyle/>
          <a:p>
            <a:pPr algn="just" eaLnBrk="1" latinLnBrk="0">
              <a:lnSpc>
                <a:spcPct val="150000"/>
              </a:lnSpc>
            </a:pPr>
            <a:r>
              <a:rPr lang="en-US" sz="2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erefore experimenters often add a center point in the design.</a:t>
            </a:r>
          </a:p>
          <a:p>
            <a:pPr algn="just" eaLnBrk="1" latinLnBrk="0">
              <a:lnSpc>
                <a:spcPct val="150000"/>
              </a:lnSpc>
            </a:pPr>
            <a:r>
              <a:rPr lang="en-US" sz="2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e purpose of adding a center point is to validate the assumption of linearity.</a:t>
            </a:r>
          </a:p>
          <a:p>
            <a:pPr algn="just" eaLnBrk="1" latinLnBrk="0">
              <a:lnSpc>
                <a:spcPct val="150000"/>
              </a:lnSpc>
            </a:pPr>
            <a:r>
              <a:rPr lang="en-US" sz="2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f the response at the center point is significantly different than the predicted value on the straight line, then a non linear model will be required to reduce the error. This can be done with a Response Surface Design. </a:t>
            </a:r>
            <a:endParaRPr lang="en-US" sz="2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8DD913C-BEF5-B4C7-DF4F-C5E34710F33B}"/>
              </a:ext>
            </a:extLst>
          </p:cNvPr>
          <p:cNvCxnSpPr>
            <a:cxnSpLocks/>
          </p:cNvCxnSpPr>
          <p:nvPr/>
        </p:nvCxnSpPr>
        <p:spPr bwMode="auto">
          <a:xfrm>
            <a:off x="8616280" y="3264312"/>
            <a:ext cx="0" cy="2988332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A7463A4-7899-2B49-D788-55600FC05029}"/>
              </a:ext>
            </a:extLst>
          </p:cNvPr>
          <p:cNvCxnSpPr>
            <a:cxnSpLocks/>
          </p:cNvCxnSpPr>
          <p:nvPr/>
        </p:nvCxnSpPr>
        <p:spPr bwMode="auto">
          <a:xfrm flipH="1">
            <a:off x="8616280" y="6252644"/>
            <a:ext cx="3204356" cy="0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54E29B32-3CF2-41C9-5E23-2624D07CEB94}"/>
              </a:ext>
            </a:extLst>
          </p:cNvPr>
          <p:cNvSpPr/>
          <p:nvPr/>
        </p:nvSpPr>
        <p:spPr>
          <a:xfrm>
            <a:off x="10054415" y="4644010"/>
            <a:ext cx="180000" cy="180000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50" b="1" dirty="0">
              <a:solidFill>
                <a:schemeClr val="tx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16E03A9-C469-A799-F238-5898222B85F1}"/>
              </a:ext>
            </a:extLst>
          </p:cNvPr>
          <p:cNvSpPr txBox="1"/>
          <p:nvPr/>
        </p:nvSpPr>
        <p:spPr>
          <a:xfrm>
            <a:off x="9988852" y="629476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800" b="1" dirty="0"/>
              <a:t>0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DEB71A9-806D-EDE5-B14D-DF4FF46210E7}"/>
              </a:ext>
            </a:extLst>
          </p:cNvPr>
          <p:cNvSpPr txBox="1"/>
          <p:nvPr/>
        </p:nvSpPr>
        <p:spPr>
          <a:xfrm>
            <a:off x="10984744" y="6260692"/>
            <a:ext cx="4844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800" b="1" dirty="0"/>
              <a:t>+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ADE7166-15C3-3D13-CA98-E0A757EEE795}"/>
              </a:ext>
            </a:extLst>
          </p:cNvPr>
          <p:cNvSpPr txBox="1"/>
          <p:nvPr/>
        </p:nvSpPr>
        <p:spPr>
          <a:xfrm>
            <a:off x="8917949" y="6300035"/>
            <a:ext cx="4138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800" b="1" dirty="0"/>
              <a:t>-1</a:t>
            </a:r>
          </a:p>
        </p:txBody>
      </p:sp>
      <p:sp>
        <p:nvSpPr>
          <p:cNvPr id="29" name="Speech Bubble: Rectangle with Corners Rounded 28">
            <a:extLst>
              <a:ext uri="{FF2B5EF4-FFF2-40B4-BE49-F238E27FC236}">
                <a16:creationId xmlns:a16="http://schemas.microsoft.com/office/drawing/2014/main" id="{155A721A-3E3C-D2D4-E91E-2F278BE9C0E1}"/>
              </a:ext>
            </a:extLst>
          </p:cNvPr>
          <p:cNvSpPr/>
          <p:nvPr/>
        </p:nvSpPr>
        <p:spPr>
          <a:xfrm>
            <a:off x="8142654" y="1368459"/>
            <a:ext cx="3924435" cy="767750"/>
          </a:xfrm>
          <a:prstGeom prst="wedgeRoundRectCallout">
            <a:avLst>
              <a:gd name="adj1" fmla="val -5559"/>
              <a:gd name="adj2" fmla="val 267619"/>
              <a:gd name="adj3" fmla="val 16667"/>
            </a:avLst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IN" sz="2000" b="1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IN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ign with </a:t>
            </a:r>
            <a:r>
              <a:rPr lang="en-IN" sz="20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er</a:t>
            </a:r>
            <a:r>
              <a:rPr lang="en-IN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in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B868C2C-E856-B81C-8BC8-89CEF930D6DE}"/>
              </a:ext>
            </a:extLst>
          </p:cNvPr>
          <p:cNvSpPr txBox="1"/>
          <p:nvPr/>
        </p:nvSpPr>
        <p:spPr>
          <a:xfrm>
            <a:off x="9985010" y="6521545"/>
            <a:ext cx="3465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800" b="1" dirty="0"/>
              <a:t>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93E82BA-5ECD-7B29-E31F-BAF7984028E2}"/>
              </a:ext>
            </a:extLst>
          </p:cNvPr>
          <p:cNvSpPr txBox="1"/>
          <p:nvPr/>
        </p:nvSpPr>
        <p:spPr>
          <a:xfrm>
            <a:off x="8094674" y="3673899"/>
            <a:ext cx="4844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800" b="1" dirty="0"/>
              <a:t>+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813041C-AF28-8EC4-0EA5-8EA885262A05}"/>
              </a:ext>
            </a:extLst>
          </p:cNvPr>
          <p:cNvSpPr txBox="1"/>
          <p:nvPr/>
        </p:nvSpPr>
        <p:spPr>
          <a:xfrm>
            <a:off x="8129940" y="5517232"/>
            <a:ext cx="4138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800" b="1" dirty="0"/>
              <a:t>-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C4EF470-EB46-D0A0-7619-33D9EC250305}"/>
              </a:ext>
            </a:extLst>
          </p:cNvPr>
          <p:cNvSpPr txBox="1"/>
          <p:nvPr/>
        </p:nvSpPr>
        <p:spPr>
          <a:xfrm>
            <a:off x="8171276" y="4389146"/>
            <a:ext cx="332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800" b="1" dirty="0"/>
              <a:t>B</a:t>
            </a:r>
          </a:p>
        </p:txBody>
      </p:sp>
    </p:spTree>
    <p:extLst>
      <p:ext uri="{BB962C8B-B14F-4D97-AF65-F5344CB8AC3E}">
        <p14:creationId xmlns:p14="http://schemas.microsoft.com/office/powerpoint/2010/main" val="13688347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6668" y="74044"/>
            <a:ext cx="10349524" cy="431800"/>
          </a:xfrm>
        </p:spPr>
        <p:txBody>
          <a:bodyPr/>
          <a:lstStyle/>
          <a:p>
            <a:pPr marL="0" indent="0" algn="just" eaLnBrk="1" latinLnBrk="0">
              <a:lnSpc>
                <a:spcPct val="150000"/>
              </a:lnSpc>
              <a:buNone/>
            </a:pPr>
            <a:r>
              <a:rPr lang="en-IN" dirty="0">
                <a:ea typeface="Verdana" panose="020B0604030504040204" pitchFamily="34" charset="0"/>
              </a:rPr>
              <a:t>Background of response surface desig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6665" y="836712"/>
            <a:ext cx="10961943" cy="4788532"/>
          </a:xfrm>
        </p:spPr>
        <p:txBody>
          <a:bodyPr/>
          <a:lstStyle/>
          <a:p>
            <a:pPr algn="just" eaLnBrk="1" latinLnBrk="0">
              <a:lnSpc>
                <a:spcPct val="150000"/>
              </a:lnSpc>
            </a:pPr>
            <a:r>
              <a:rPr lang="en-US" sz="2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sponse Surface Methodology, or RSM, </a:t>
            </a:r>
            <a:r>
              <a:rPr lang="en-US" sz="2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s a </a:t>
            </a:r>
            <a:r>
              <a:rPr lang="en-US" sz="2400" b="1" dirty="0">
                <a:solidFill>
                  <a:srgbClr val="00B05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llection of mathematical and statistical techniques </a:t>
            </a:r>
            <a:r>
              <a:rPr lang="en-US" sz="2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useful for the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odeling</a:t>
            </a:r>
            <a:r>
              <a:rPr lang="en-US" sz="2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and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nalysis</a:t>
            </a:r>
            <a:r>
              <a:rPr lang="en-US" sz="2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of problems in which a response of interest is influenced by several variables and </a:t>
            </a:r>
            <a:r>
              <a:rPr lang="en-US" sz="2400" b="1" dirty="0">
                <a:highlight>
                  <a:srgbClr val="FFFF00"/>
                </a:highlight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e objective is to optimize this response</a:t>
            </a:r>
            <a:r>
              <a:rPr lang="en-US" sz="2400" b="1" dirty="0">
                <a:solidFill>
                  <a:srgbClr val="00B05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en-US" sz="24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latinLnBrk="0">
              <a:lnSpc>
                <a:spcPct val="150000"/>
              </a:lnSpc>
            </a:pPr>
            <a:endParaRPr lang="en-US" sz="2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456143" y="4113076"/>
            <a:ext cx="2124236" cy="122413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sz="1050" b="1" dirty="0">
              <a:solidFill>
                <a:schemeClr val="tx1"/>
              </a:solidFill>
            </a:endParaRPr>
          </a:p>
        </p:txBody>
      </p:sp>
      <p:sp>
        <p:nvSpPr>
          <p:cNvPr id="6" name="Curved Down Arrow 5"/>
          <p:cNvSpPr/>
          <p:nvPr/>
        </p:nvSpPr>
        <p:spPr>
          <a:xfrm rot="4696130">
            <a:off x="5036389" y="4419110"/>
            <a:ext cx="963744" cy="612068"/>
          </a:xfrm>
          <a:prstGeom prst="curvedDown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sz="1050" b="1" dirty="0">
              <a:solidFill>
                <a:schemeClr val="tx1"/>
              </a:solidFill>
            </a:endParaRPr>
          </a:p>
        </p:txBody>
      </p:sp>
      <p:cxnSp>
        <p:nvCxnSpPr>
          <p:cNvPr id="8" name="Straight Arrow Connector 7"/>
          <p:cNvCxnSpPr>
            <a:endCxn id="4" idx="1"/>
          </p:cNvCxnSpPr>
          <p:nvPr/>
        </p:nvCxnSpPr>
        <p:spPr bwMode="auto">
          <a:xfrm>
            <a:off x="3664055" y="4725144"/>
            <a:ext cx="792088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>
            <a:stCxn id="4" idx="3"/>
          </p:cNvCxnSpPr>
          <p:nvPr/>
        </p:nvCxnSpPr>
        <p:spPr bwMode="auto">
          <a:xfrm>
            <a:off x="6580379" y="4725144"/>
            <a:ext cx="916827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 bwMode="auto">
          <a:xfrm>
            <a:off x="4799856" y="3537012"/>
            <a:ext cx="0" cy="576064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 bwMode="auto">
          <a:xfrm>
            <a:off x="5267908" y="3537012"/>
            <a:ext cx="0" cy="576064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 bwMode="auto">
          <a:xfrm>
            <a:off x="5699956" y="3537012"/>
            <a:ext cx="0" cy="576064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 bwMode="auto">
          <a:xfrm>
            <a:off x="6132004" y="3537012"/>
            <a:ext cx="0" cy="576064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 bwMode="auto">
          <a:xfrm flipV="1">
            <a:off x="4964212" y="5337212"/>
            <a:ext cx="0" cy="576064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 bwMode="auto">
          <a:xfrm flipV="1">
            <a:off x="6124166" y="5337212"/>
            <a:ext cx="0" cy="576064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7608168" y="4571255"/>
            <a:ext cx="3739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/>
              <a:t>Response (Ex: Process yield, defects, etc.)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200825" y="5913276"/>
            <a:ext cx="3433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 err="1"/>
              <a:t>Zi</a:t>
            </a:r>
            <a:endParaRPr lang="en-IN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5346579" y="3218821"/>
            <a:ext cx="3513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/>
              <a:t>Xi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740630" y="4037225"/>
            <a:ext cx="15166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/>
              <a:t>Process/System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57116" y="6283658"/>
            <a:ext cx="113175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dirty="0">
                <a:solidFill>
                  <a:srgbClr val="FF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etting the X in the particular range or zone by that we can able to get the optimal response value.</a:t>
            </a:r>
          </a:p>
        </p:txBody>
      </p:sp>
    </p:spTree>
    <p:extLst>
      <p:ext uri="{BB962C8B-B14F-4D97-AF65-F5344CB8AC3E}">
        <p14:creationId xmlns:p14="http://schemas.microsoft.com/office/powerpoint/2010/main" val="14043008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6668" y="74044"/>
            <a:ext cx="10349524" cy="431800"/>
          </a:xfrm>
        </p:spPr>
        <p:txBody>
          <a:bodyPr/>
          <a:lstStyle/>
          <a:p>
            <a:pPr marL="0" indent="0" algn="just" eaLnBrk="1" latinLnBrk="0">
              <a:lnSpc>
                <a:spcPct val="150000"/>
              </a:lnSpc>
              <a:buNone/>
            </a:pPr>
            <a:r>
              <a:rPr lang="en-IN" dirty="0">
                <a:ea typeface="Verdana" panose="020B0604030504040204" pitchFamily="34" charset="0"/>
              </a:rPr>
              <a:t>Background of response surface desig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6665" y="836712"/>
            <a:ext cx="10961943" cy="4788532"/>
          </a:xfrm>
        </p:spPr>
        <p:txBody>
          <a:bodyPr/>
          <a:lstStyle/>
          <a:p>
            <a:pPr algn="just" eaLnBrk="1" latinLnBrk="0">
              <a:lnSpc>
                <a:spcPct val="150000"/>
              </a:lnSpc>
            </a:pPr>
            <a:r>
              <a:rPr lang="en-US" sz="2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SM, </a:t>
            </a:r>
            <a:r>
              <a:rPr lang="en-US" sz="2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s a </a:t>
            </a:r>
            <a:r>
              <a:rPr lang="en-US" sz="2400" b="1" dirty="0">
                <a:solidFill>
                  <a:srgbClr val="00B05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llection of mathematical and statistical techniques </a:t>
            </a:r>
            <a:r>
              <a:rPr lang="en-US" sz="2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useful for the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eveloping, improving, and optimizing processes</a:t>
            </a:r>
            <a:r>
              <a:rPr lang="en-US" sz="2400" b="1" dirty="0">
                <a:solidFill>
                  <a:srgbClr val="00B05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en-US" sz="24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latinLnBrk="0">
              <a:lnSpc>
                <a:spcPct val="150000"/>
              </a:lnSpc>
            </a:pPr>
            <a:endParaRPr lang="en-US" sz="2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349" y="2744924"/>
            <a:ext cx="10527704" cy="2751559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4"/>
          <a:srcRect t="30900" b="56868"/>
          <a:stretch/>
        </p:blipFill>
        <p:spPr>
          <a:xfrm>
            <a:off x="623392" y="5805264"/>
            <a:ext cx="11053228" cy="684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7788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66&quot;/&gt;&lt;partner val=&quot;53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1&quot;/&gt;&lt;m_mruColor&gt;&lt;m_vecMRU length=&quot;7&quot;&gt;&lt;elem&gt;&lt;m_ppcolschidx val=&quot;0&quot;/&gt;&lt;m_rgb r=&quot;3c&quot; g=&quot;55&quot; b=&quot;7b&quot;/&gt;&lt;/elem&gt;&lt;elem&gt;&lt;m_ppcolschidx val=&quot;0&quot;/&gt;&lt;m_rgb r=&quot;c8&quot; g=&quot;cf&quot; b=&quot;d7&quot;/&gt;&lt;/elem&gt;&lt;elem&gt;&lt;m_ppcolschidx val=&quot;0&quot;/&gt;&lt;m_rgb r=&quot;82&quot; g=&quot;8c&quot; b=&quot;96&quot;/&gt;&lt;/elem&gt;&lt;elem&gt;&lt;m_ppcolschidx val=&quot;0&quot;/&gt;&lt;m_rgb r=&quot;42&quot; g=&quot;57&quot; b=&quot;73&quot;/&gt;&lt;/elem&gt;&lt;elem&gt;&lt;m_ppcolschidx val=&quot;0&quot;/&gt;&lt;m_rgb r=&quot;ff&quot; g=&quot;cc&quot; b=&quot;0&quot;/&gt;&lt;/elem&gt;&lt;elem&gt;&lt;m_ppcolschidx val=&quot;0&quot;/&gt;&lt;m_rgb r=&quot;2d&quot; g=&quot;37&quot; b=&quot;49&quot;/&gt;&lt;/elem&gt;&lt;elem&gt;&lt;m_ppcolschidx val=&quot;0&quot;/&gt;&lt;m_rgb r=&quot;14&quot; g=&quot;1d&quot; b=&quot;29&quot;/&gt;&lt;/elem&gt;&lt;/m_vecMRU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101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tRWYxlZk.TMcaPKrkw0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tRWYxlZk.TMcaPKrkw0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tRWYxlZk.TMcaPKrkw0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tRWYxlZk.TMcaPKrkw0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tRWYxlZk.TMcaPKrkw0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tRWYxlZk.TMcaPKrkw0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tRWYxlZk.TMcaPKrkw0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tRWYxlZk.TMcaPKrkw0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UGxtNHtk.EvRvw64dI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tRWYxlZk.TMcaPKrkw0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tRWYxlZk.TMcaPKrkw0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tRWYxlZk.TMcaPKrkw0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tRWYxlZk.TMcaPKrkw0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tRWYxlZk.TMcaPKrkw0g"/>
</p:tagLst>
</file>

<file path=ppt/theme/theme1.xml><?xml version="1.0" encoding="utf-8"?>
<a:theme xmlns:a="http://schemas.openxmlformats.org/drawingml/2006/main" name="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HY견고딕"/>
        <a:ea typeface="HY견고딕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anchor="ctr"/>
      <a:lstStyle>
        <a:defPPr>
          <a:defRPr sz="1050"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맑은 고딕" pitchFamily="50" charset="-127"/>
            <a:ea typeface="맑은 고딕" pitchFamily="50" charset="-127"/>
          </a:defRPr>
        </a:defPPr>
      </a:lstStyle>
    </a:ln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Knowledgeworks Temlate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Knowledgeworks Temlate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맑은 고딕" pitchFamily="50" charset="-127"/>
            <a:ea typeface="맑은 고딕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맑은 고딕" pitchFamily="50" charset="-127"/>
            <a:ea typeface="맑은 고딕" pitchFamily="50" charset="-127"/>
          </a:defRPr>
        </a:defPPr>
      </a:lstStyle>
    </a:lnDef>
  </a:objectDefaults>
  <a:extraClrSchemeLst>
    <a:extraClrScheme>
      <a:clrScheme name="2_Knowledgeworks Temlate 1">
        <a:dk1>
          <a:srgbClr val="004785"/>
        </a:dk1>
        <a:lt1>
          <a:srgbClr val="FFFFFF"/>
        </a:lt1>
        <a:dk2>
          <a:srgbClr val="004785"/>
        </a:dk2>
        <a:lt2>
          <a:srgbClr val="808080"/>
        </a:lt2>
        <a:accent1>
          <a:srgbClr val="3E7898"/>
        </a:accent1>
        <a:accent2>
          <a:srgbClr val="C0D8E6"/>
        </a:accent2>
        <a:accent3>
          <a:srgbClr val="FFFFFF"/>
        </a:accent3>
        <a:accent4>
          <a:srgbClr val="003B71"/>
        </a:accent4>
        <a:accent5>
          <a:srgbClr val="AFBECA"/>
        </a:accent5>
        <a:accent6>
          <a:srgbClr val="AEC4D0"/>
        </a:accent6>
        <a:hlink>
          <a:srgbClr val="6EA5C4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94B6557DF76044BA5DDB349A11CCC13" ma:contentTypeVersion="0" ma:contentTypeDescription="Create a new document." ma:contentTypeScope="" ma:versionID="1ea2ba3ad550a6ad0834cb23f1f9743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764bea3eb9b1a5be8fd57fac5fb459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FC71B0E-4096-4C05-A784-96A808CA7ADC}"/>
</file>

<file path=customXml/itemProps2.xml><?xml version="1.0" encoding="utf-8"?>
<ds:datastoreItem xmlns:ds="http://schemas.openxmlformats.org/officeDocument/2006/customXml" ds:itemID="{5C1038D8-6B54-4DE0-B712-FD563F257C59}"/>
</file>

<file path=customXml/itemProps3.xml><?xml version="1.0" encoding="utf-8"?>
<ds:datastoreItem xmlns:ds="http://schemas.openxmlformats.org/officeDocument/2006/customXml" ds:itemID="{28612AE8-6E44-4804-8717-D9539C66D306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309</TotalTime>
  <Words>3741</Words>
  <Application>Microsoft Office PowerPoint</Application>
  <PresentationFormat>Widescreen</PresentationFormat>
  <Paragraphs>415</Paragraphs>
  <Slides>65</Slides>
  <Notes>6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5</vt:i4>
      </vt:variant>
    </vt:vector>
  </HeadingPairs>
  <TitlesOfParts>
    <vt:vector size="74" baseType="lpstr">
      <vt:lpstr>굴림</vt:lpstr>
      <vt:lpstr>HY견고딕</vt:lpstr>
      <vt:lpstr>맑은 고딕</vt:lpstr>
      <vt:lpstr>Arial</vt:lpstr>
      <vt:lpstr>Cambria Math</vt:lpstr>
      <vt:lpstr>Wingdings</vt:lpstr>
      <vt:lpstr>기본 디자인</vt:lpstr>
      <vt:lpstr>2_Knowledgeworks Temlate</vt:lpstr>
      <vt:lpstr>Formel</vt:lpstr>
      <vt:lpstr>PowerPoint Presentation</vt:lpstr>
      <vt:lpstr>PowerPoint Presentation</vt:lpstr>
      <vt:lpstr>Unit 4 </vt:lpstr>
      <vt:lpstr>Assumptions of Linearity in two-level designs</vt:lpstr>
      <vt:lpstr>Assumptions of Linearity in two-level designs</vt:lpstr>
      <vt:lpstr>Assumptions of Linearity in two-level designs</vt:lpstr>
      <vt:lpstr>Addition of Center Point</vt:lpstr>
      <vt:lpstr>Background of response surface design</vt:lpstr>
      <vt:lpstr>Background of response surface design</vt:lpstr>
      <vt:lpstr>Background of response surface design</vt:lpstr>
      <vt:lpstr>Background of response surface design</vt:lpstr>
      <vt:lpstr>Background of response surface design</vt:lpstr>
      <vt:lpstr>Background of response surface design</vt:lpstr>
      <vt:lpstr>Background of response surface design</vt:lpstr>
      <vt:lpstr>Background of response surface design</vt:lpstr>
      <vt:lpstr>Background of response surface design</vt:lpstr>
      <vt:lpstr>Background of response surface design</vt:lpstr>
      <vt:lpstr>Background of response surface design</vt:lpstr>
      <vt:lpstr>Example 1 (First-order RSM)</vt:lpstr>
      <vt:lpstr>Example 1 (RSM First-order Model)</vt:lpstr>
      <vt:lpstr>Example 1 (First-order RSM)</vt:lpstr>
      <vt:lpstr>Example 1 (First-order RSM)</vt:lpstr>
      <vt:lpstr>Example 1 (First-order RSM)</vt:lpstr>
      <vt:lpstr>Example 1 (First-order RSM)</vt:lpstr>
      <vt:lpstr>Example 1 (First-order RSM)</vt:lpstr>
      <vt:lpstr>Example 1 (First-order RSM)</vt:lpstr>
      <vt:lpstr>Example 1 (First-order RSM)</vt:lpstr>
      <vt:lpstr>Example 1 (First-order RSM)</vt:lpstr>
      <vt:lpstr>Example 1 (First-order RSM)</vt:lpstr>
      <vt:lpstr>Example 1 (First-order RSM)</vt:lpstr>
      <vt:lpstr>Example 1 (First-order RSM)</vt:lpstr>
      <vt:lpstr>Example 1 (First-order RSM)</vt:lpstr>
      <vt:lpstr>Example 1 (First-order RSM)</vt:lpstr>
      <vt:lpstr>Analysis of a Second-Order Response Surface</vt:lpstr>
      <vt:lpstr>Analysis of a Second-Order Response Surface</vt:lpstr>
      <vt:lpstr>Analysis of a Second-Order Response Surface</vt:lpstr>
      <vt:lpstr>Analysis of a Second-Order Response Surface</vt:lpstr>
      <vt:lpstr>Analysis of a Second-Order Response Surface</vt:lpstr>
      <vt:lpstr>Analysis of a Second-Order Response Surface</vt:lpstr>
      <vt:lpstr>Example for Second-Order Response Surface.</vt:lpstr>
      <vt:lpstr>Example.</vt:lpstr>
      <vt:lpstr>Example.</vt:lpstr>
      <vt:lpstr>Example.</vt:lpstr>
      <vt:lpstr>Example.</vt:lpstr>
      <vt:lpstr>Example.</vt:lpstr>
      <vt:lpstr>Features for selecting response surface design</vt:lpstr>
      <vt:lpstr>Design for fitting the Second-Order Model</vt:lpstr>
      <vt:lpstr>Central Composite designs (CCD)</vt:lpstr>
      <vt:lpstr>Central Composite designs (CCD)</vt:lpstr>
      <vt:lpstr>Central Composite designs (CCD)</vt:lpstr>
      <vt:lpstr>Central Composite designs (CCD)</vt:lpstr>
      <vt:lpstr>Central Composite designs (CCD)</vt:lpstr>
      <vt:lpstr>Central Composite designs (CCD)</vt:lpstr>
      <vt:lpstr>Central Composite designs (CCD)</vt:lpstr>
      <vt:lpstr> Central composite rotatable design for two variables</vt:lpstr>
      <vt:lpstr> Central composite rotatable design for three variables</vt:lpstr>
      <vt:lpstr>Central Composite designs (CCD)</vt:lpstr>
      <vt:lpstr>Central Composite designs (CCD)</vt:lpstr>
      <vt:lpstr>Box-Behnken designs (BBD)</vt:lpstr>
      <vt:lpstr>Box-Behnken designs (BBD)</vt:lpstr>
      <vt:lpstr>Box-Behnken designs (BBD)</vt:lpstr>
      <vt:lpstr>Box-Behnken designs (BBD)</vt:lpstr>
      <vt:lpstr>Box-Behnken designs (BBD)</vt:lpstr>
      <vt:lpstr>Box-Behnken designs (BBD)</vt:lpstr>
      <vt:lpstr>PowerPoint Presentation</vt:lpstr>
    </vt:vector>
  </TitlesOfParts>
  <Company>knowledgework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RISS 프로젝트 착수보고</dc:title>
  <dc:creator>조승철</dc:creator>
  <cp:lastModifiedBy>Murali Subramaniyam  102252</cp:lastModifiedBy>
  <cp:revision>1371</cp:revision>
  <cp:lastPrinted>2023-01-25T03:23:56Z</cp:lastPrinted>
  <dcterms:created xsi:type="dcterms:W3CDTF">2009-01-23T07:32:02Z</dcterms:created>
  <dcterms:modified xsi:type="dcterms:W3CDTF">2023-06-21T02:53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94B6557DF76044BA5DDB349A11CCC13</vt:lpwstr>
  </property>
</Properties>
</file>